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4011" r:id="rId7"/>
  </p:sldMasterIdLst>
  <p:notesMasterIdLst>
    <p:notesMasterId r:id="rId19"/>
  </p:notesMasterIdLst>
  <p:handoutMasterIdLst>
    <p:handoutMasterId r:id="rId20"/>
  </p:handoutMasterIdLst>
  <p:sldIdLst>
    <p:sldId id="2147482499" r:id="rId8"/>
    <p:sldId id="2147482509" r:id="rId9"/>
    <p:sldId id="2147482510" r:id="rId10"/>
    <p:sldId id="2147482511" r:id="rId11"/>
    <p:sldId id="419" r:id="rId12"/>
    <p:sldId id="2147482517" r:id="rId13"/>
    <p:sldId id="2147482513" r:id="rId14"/>
    <p:sldId id="2147482518" r:id="rId15"/>
    <p:sldId id="442" r:id="rId16"/>
    <p:sldId id="2147482519" r:id="rId17"/>
    <p:sldId id="2147482508" r:id="rId1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D53F028-A2E4-E24B-A222-7DB4617B18BB}">
          <p14:sldIdLst>
            <p14:sldId id="2147482499"/>
            <p14:sldId id="2147482509"/>
            <p14:sldId id="2147482510"/>
            <p14:sldId id="2147482511"/>
            <p14:sldId id="419"/>
            <p14:sldId id="2147482517"/>
            <p14:sldId id="2147482513"/>
            <p14:sldId id="2147482518"/>
            <p14:sldId id="442"/>
            <p14:sldId id="2147482519"/>
            <p14:sldId id="21474825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77B4"/>
    <a:srgbClr val="FFDFDB"/>
    <a:srgbClr val="FFE050"/>
    <a:srgbClr val="FFED5E"/>
    <a:srgbClr val="02ABB1"/>
    <a:srgbClr val="00666F"/>
    <a:srgbClr val="FCFCC2"/>
    <a:srgbClr val="ADFF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AFD1E8-3672-49BA-B0B4-0CD2E68A336C}" v="162" dt="2025-12-29T16:17:29.1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68" autoAdjust="0"/>
    <p:restoredTop sz="80017" autoAdjust="0"/>
  </p:normalViewPr>
  <p:slideViewPr>
    <p:cSldViewPr snapToGrid="0">
      <p:cViewPr varScale="1">
        <p:scale>
          <a:sx n="81" d="100"/>
          <a:sy n="81" d="100"/>
        </p:scale>
        <p:origin x="773" y="374"/>
      </p:cViewPr>
      <p:guideLst>
        <p:guide orient="horz" pos="1620"/>
        <p:guide pos="2880"/>
      </p:guideLst>
    </p:cSldViewPr>
  </p:slideViewPr>
  <p:outlineViewPr>
    <p:cViewPr>
      <p:scale>
        <a:sx n="70" d="100"/>
        <a:sy n="70" d="100"/>
      </p:scale>
      <p:origin x="-80" y="-5019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4292"/>
    </p:cViewPr>
  </p:sorterViewPr>
  <p:notesViewPr>
    <p:cSldViewPr snapToGrid="0" showGuides="1">
      <p:cViewPr>
        <p:scale>
          <a:sx n="109" d="100"/>
          <a:sy n="109" d="100"/>
        </p:scale>
        <p:origin x="3666" y="456"/>
      </p:cViewPr>
      <p:guideLst/>
    </p:cSldViewPr>
  </p:notesViewPr>
  <p:gridSpacing cx="38100" cy="3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driks, Rob" userId="c1397476-51d7-416b-9276-de9da7a1b8a6" providerId="ADAL" clId="{5530228B-0BD8-451E-BAD1-66B9143C59C5}"/>
    <pc:docChg chg="undo custSel addSld delSld modSld modSection">
      <pc:chgData name="Hendriks, Rob" userId="c1397476-51d7-416b-9276-de9da7a1b8a6" providerId="ADAL" clId="{5530228B-0BD8-451E-BAD1-66B9143C59C5}" dt="2025-12-30T06:42:56.257" v="523" actId="20577"/>
      <pc:docMkLst>
        <pc:docMk/>
      </pc:docMkLst>
      <pc:sldChg chg="modSp mod">
        <pc:chgData name="Hendriks, Rob" userId="c1397476-51d7-416b-9276-de9da7a1b8a6" providerId="ADAL" clId="{5530228B-0BD8-451E-BAD1-66B9143C59C5}" dt="2025-12-29T16:00:02.673" v="376" actId="20577"/>
        <pc:sldMkLst>
          <pc:docMk/>
          <pc:sldMk cId="2080383091" sldId="419"/>
        </pc:sldMkLst>
        <pc:spChg chg="mod">
          <ac:chgData name="Hendriks, Rob" userId="c1397476-51d7-416b-9276-de9da7a1b8a6" providerId="ADAL" clId="{5530228B-0BD8-451E-BAD1-66B9143C59C5}" dt="2025-12-29T16:00:02.673" v="376" actId="20577"/>
          <ac:spMkLst>
            <pc:docMk/>
            <pc:sldMk cId="2080383091" sldId="419"/>
            <ac:spMk id="2" creationId="{101FD451-9AA4-EA73-8819-3C57A3EF9C09}"/>
          </ac:spMkLst>
        </pc:spChg>
        <pc:spChg chg="mod">
          <ac:chgData name="Hendriks, Rob" userId="c1397476-51d7-416b-9276-de9da7a1b8a6" providerId="ADAL" clId="{5530228B-0BD8-451E-BAD1-66B9143C59C5}" dt="2025-12-29T15:56:45.718" v="252" actId="20577"/>
          <ac:spMkLst>
            <pc:docMk/>
            <pc:sldMk cId="2080383091" sldId="419"/>
            <ac:spMk id="4" creationId="{69B21DB9-F20C-708F-05F0-F92326F77FDB}"/>
          </ac:spMkLst>
        </pc:spChg>
      </pc:sldChg>
      <pc:sldChg chg="modSp mod">
        <pc:chgData name="Hendriks, Rob" userId="c1397476-51d7-416b-9276-de9da7a1b8a6" providerId="ADAL" clId="{5530228B-0BD8-451E-BAD1-66B9143C59C5}" dt="2025-12-30T06:38:12.192" v="405" actId="20577"/>
        <pc:sldMkLst>
          <pc:docMk/>
          <pc:sldMk cId="1505692260" sldId="442"/>
        </pc:sldMkLst>
        <pc:spChg chg="mod">
          <ac:chgData name="Hendriks, Rob" userId="c1397476-51d7-416b-9276-de9da7a1b8a6" providerId="ADAL" clId="{5530228B-0BD8-451E-BAD1-66B9143C59C5}" dt="2025-12-29T12:04:33.843" v="9" actId="1076"/>
          <ac:spMkLst>
            <pc:docMk/>
            <pc:sldMk cId="1505692260" sldId="442"/>
            <ac:spMk id="3" creationId="{D4AF1869-743A-A33A-5832-5279E5FDCD48}"/>
          </ac:spMkLst>
        </pc:spChg>
        <pc:spChg chg="mod">
          <ac:chgData name="Hendriks, Rob" userId="c1397476-51d7-416b-9276-de9da7a1b8a6" providerId="ADAL" clId="{5530228B-0BD8-451E-BAD1-66B9143C59C5}" dt="2025-12-29T12:04:42.894" v="17" actId="1076"/>
          <ac:spMkLst>
            <pc:docMk/>
            <pc:sldMk cId="1505692260" sldId="442"/>
            <ac:spMk id="4" creationId="{D853E6A7-3926-26CE-3AE6-CAC6991D20C2}"/>
          </ac:spMkLst>
        </pc:spChg>
        <pc:spChg chg="mod">
          <ac:chgData name="Hendriks, Rob" userId="c1397476-51d7-416b-9276-de9da7a1b8a6" providerId="ADAL" clId="{5530228B-0BD8-451E-BAD1-66B9143C59C5}" dt="2025-12-30T06:38:12.192" v="405" actId="20577"/>
          <ac:spMkLst>
            <pc:docMk/>
            <pc:sldMk cId="1505692260" sldId="442"/>
            <ac:spMk id="15" creationId="{6BA54D7B-F9BA-10E6-B9E4-6F4671AD440A}"/>
          </ac:spMkLst>
        </pc:spChg>
      </pc:sldChg>
      <pc:sldChg chg="modSp mod">
        <pc:chgData name="Hendriks, Rob" userId="c1397476-51d7-416b-9276-de9da7a1b8a6" providerId="ADAL" clId="{5530228B-0BD8-451E-BAD1-66B9143C59C5}" dt="2025-12-30T06:42:56.257" v="523" actId="20577"/>
        <pc:sldMkLst>
          <pc:docMk/>
          <pc:sldMk cId="1058418885" sldId="2147482499"/>
        </pc:sldMkLst>
        <pc:spChg chg="mod">
          <ac:chgData name="Hendriks, Rob" userId="c1397476-51d7-416b-9276-de9da7a1b8a6" providerId="ADAL" clId="{5530228B-0BD8-451E-BAD1-66B9143C59C5}" dt="2025-12-30T06:42:56.257" v="523" actId="20577"/>
          <ac:spMkLst>
            <pc:docMk/>
            <pc:sldMk cId="1058418885" sldId="2147482499"/>
            <ac:spMk id="14" creationId="{2341943A-5D35-4B9C-6AD7-1005BEFD6339}"/>
          </ac:spMkLst>
        </pc:spChg>
      </pc:sldChg>
      <pc:sldChg chg="modSp mod">
        <pc:chgData name="Hendriks, Rob" userId="c1397476-51d7-416b-9276-de9da7a1b8a6" providerId="ADAL" clId="{5530228B-0BD8-451E-BAD1-66B9143C59C5}" dt="2025-12-30T06:42:05.687" v="512" actId="20577"/>
        <pc:sldMkLst>
          <pc:docMk/>
          <pc:sldMk cId="1356198356" sldId="2147482509"/>
        </pc:sldMkLst>
        <pc:spChg chg="mod">
          <ac:chgData name="Hendriks, Rob" userId="c1397476-51d7-416b-9276-de9da7a1b8a6" providerId="ADAL" clId="{5530228B-0BD8-451E-BAD1-66B9143C59C5}" dt="2025-12-30T06:42:05.687" v="512" actId="20577"/>
          <ac:spMkLst>
            <pc:docMk/>
            <pc:sldMk cId="1356198356" sldId="2147482509"/>
            <ac:spMk id="10" creationId="{9EE21490-2234-12DE-0977-5207C5013648}"/>
          </ac:spMkLst>
        </pc:spChg>
        <pc:spChg chg="mod">
          <ac:chgData name="Hendriks, Rob" userId="c1397476-51d7-416b-9276-de9da7a1b8a6" providerId="ADAL" clId="{5530228B-0BD8-451E-BAD1-66B9143C59C5}" dt="2025-12-30T06:41:13.714" v="416" actId="1076"/>
          <ac:spMkLst>
            <pc:docMk/>
            <pc:sldMk cId="1356198356" sldId="2147482509"/>
            <ac:spMk id="16" creationId="{5A3059A5-A0D8-E7E1-1D2E-E638D342D0F8}"/>
          </ac:spMkLst>
        </pc:spChg>
        <pc:picChg chg="mod">
          <ac:chgData name="Hendriks, Rob" userId="c1397476-51d7-416b-9276-de9da7a1b8a6" providerId="ADAL" clId="{5530228B-0BD8-451E-BAD1-66B9143C59C5}" dt="2025-12-30T06:41:20.272" v="417" actId="1076"/>
          <ac:picMkLst>
            <pc:docMk/>
            <pc:sldMk cId="1356198356" sldId="2147482509"/>
            <ac:picMk id="9" creationId="{F33F7055-D4B9-D5F3-C9B7-4508967A230E}"/>
          </ac:picMkLst>
        </pc:picChg>
        <pc:cxnChg chg="mod">
          <ac:chgData name="Hendriks, Rob" userId="c1397476-51d7-416b-9276-de9da7a1b8a6" providerId="ADAL" clId="{5530228B-0BD8-451E-BAD1-66B9143C59C5}" dt="2025-12-30T06:40:57.367" v="415" actId="1076"/>
          <ac:cxnSpMkLst>
            <pc:docMk/>
            <pc:sldMk cId="1356198356" sldId="2147482509"/>
            <ac:cxnSpMk id="18" creationId="{7F4615D9-6CE4-30AE-EFFF-A4A5F2EEA696}"/>
          </ac:cxnSpMkLst>
        </pc:cxnChg>
      </pc:sldChg>
      <pc:sldChg chg="modSp mod">
        <pc:chgData name="Hendriks, Rob" userId="c1397476-51d7-416b-9276-de9da7a1b8a6" providerId="ADAL" clId="{5530228B-0BD8-451E-BAD1-66B9143C59C5}" dt="2025-12-29T15:56:35.968" v="250" actId="20577"/>
        <pc:sldMkLst>
          <pc:docMk/>
          <pc:sldMk cId="117015319" sldId="2147482511"/>
        </pc:sldMkLst>
        <pc:spChg chg="mod">
          <ac:chgData name="Hendriks, Rob" userId="c1397476-51d7-416b-9276-de9da7a1b8a6" providerId="ADAL" clId="{5530228B-0BD8-451E-BAD1-66B9143C59C5}" dt="2025-12-29T15:56:05.247" v="248" actId="313"/>
          <ac:spMkLst>
            <pc:docMk/>
            <pc:sldMk cId="117015319" sldId="2147482511"/>
            <ac:spMk id="4" creationId="{3DB72D71-4944-18D7-4729-46860624CA6B}"/>
          </ac:spMkLst>
        </pc:spChg>
        <pc:spChg chg="mod">
          <ac:chgData name="Hendriks, Rob" userId="c1397476-51d7-416b-9276-de9da7a1b8a6" providerId="ADAL" clId="{5530228B-0BD8-451E-BAD1-66B9143C59C5}" dt="2025-12-29T15:56:35.968" v="250" actId="20577"/>
          <ac:spMkLst>
            <pc:docMk/>
            <pc:sldMk cId="117015319" sldId="2147482511"/>
            <ac:spMk id="9" creationId="{227AFE3D-131F-5F43-14F5-5FD6AEE9553C}"/>
          </ac:spMkLst>
        </pc:spChg>
      </pc:sldChg>
      <pc:sldChg chg="addSp modSp modTransition modAnim">
        <pc:chgData name="Hendriks, Rob" userId="c1397476-51d7-416b-9276-de9da7a1b8a6" providerId="ADAL" clId="{5530228B-0BD8-451E-BAD1-66B9143C59C5}" dt="2025-12-29T16:17:29.134" v="390"/>
        <pc:sldMkLst>
          <pc:docMk/>
          <pc:sldMk cId="3491637994" sldId="2147482513"/>
        </pc:sldMkLst>
        <pc:spChg chg="add mod">
          <ac:chgData name="Hendriks, Rob" userId="c1397476-51d7-416b-9276-de9da7a1b8a6" providerId="ADAL" clId="{5530228B-0BD8-451E-BAD1-66B9143C59C5}" dt="2025-12-29T16:16:29.250" v="384"/>
          <ac:spMkLst>
            <pc:docMk/>
            <pc:sldMk cId="3491637994" sldId="2147482513"/>
            <ac:spMk id="4" creationId="{E517B2CE-A1D4-F915-374F-E7143EB00D76}"/>
          </ac:spMkLst>
        </pc:spChg>
        <pc:picChg chg="add mod">
          <ac:chgData name="Hendriks, Rob" userId="c1397476-51d7-416b-9276-de9da7a1b8a6" providerId="ADAL" clId="{5530228B-0BD8-451E-BAD1-66B9143C59C5}" dt="2025-12-29T16:16:23.771" v="383"/>
          <ac:picMkLst>
            <pc:docMk/>
            <pc:sldMk cId="3491637994" sldId="2147482513"/>
            <ac:picMk id="2" creationId="{A305CA57-7C54-4A3B-EBD6-9FEE624C9458}"/>
          </ac:picMkLst>
        </pc:picChg>
      </pc:sldChg>
      <pc:sldChg chg="del">
        <pc:chgData name="Hendriks, Rob" userId="c1397476-51d7-416b-9276-de9da7a1b8a6" providerId="ADAL" clId="{5530228B-0BD8-451E-BAD1-66B9143C59C5}" dt="2025-12-29T16:16:32.594" v="385" actId="47"/>
        <pc:sldMkLst>
          <pc:docMk/>
          <pc:sldMk cId="2425967993" sldId="2147482514"/>
        </pc:sldMkLst>
      </pc:sldChg>
      <pc:sldChg chg="del">
        <pc:chgData name="Hendriks, Rob" userId="c1397476-51d7-416b-9276-de9da7a1b8a6" providerId="ADAL" clId="{5530228B-0BD8-451E-BAD1-66B9143C59C5}" dt="2025-12-29T16:14:56.955" v="379" actId="47"/>
        <pc:sldMkLst>
          <pc:docMk/>
          <pc:sldMk cId="811856310" sldId="2147482515"/>
        </pc:sldMkLst>
      </pc:sldChg>
      <pc:sldChg chg="modSp">
        <pc:chgData name="Hendriks, Rob" userId="c1397476-51d7-416b-9276-de9da7a1b8a6" providerId="ADAL" clId="{5530228B-0BD8-451E-BAD1-66B9143C59C5}" dt="2025-12-29T15:56:54.289" v="254" actId="20577"/>
        <pc:sldMkLst>
          <pc:docMk/>
          <pc:sldMk cId="161814841" sldId="2147482517"/>
        </pc:sldMkLst>
        <pc:spChg chg="mod">
          <ac:chgData name="Hendriks, Rob" userId="c1397476-51d7-416b-9276-de9da7a1b8a6" providerId="ADAL" clId="{5530228B-0BD8-451E-BAD1-66B9143C59C5}" dt="2025-12-29T15:56:54.289" v="254" actId="20577"/>
          <ac:spMkLst>
            <pc:docMk/>
            <pc:sldMk cId="161814841" sldId="2147482517"/>
            <ac:spMk id="9" creationId="{C4392A75-51DC-5984-BA75-CE827AF2DFF4}"/>
          </ac:spMkLst>
        </pc:spChg>
      </pc:sldChg>
      <pc:sldChg chg="addSp delSp modSp mod delAnim modAnim">
        <pc:chgData name="Hendriks, Rob" userId="c1397476-51d7-416b-9276-de9da7a1b8a6" providerId="ADAL" clId="{5530228B-0BD8-451E-BAD1-66B9143C59C5}" dt="2025-12-29T15:44:27.910" v="66" actId="1076"/>
        <pc:sldMkLst>
          <pc:docMk/>
          <pc:sldMk cId="9088033" sldId="2147482518"/>
        </pc:sldMkLst>
        <pc:spChg chg="del">
          <ac:chgData name="Hendriks, Rob" userId="c1397476-51d7-416b-9276-de9da7a1b8a6" providerId="ADAL" clId="{5530228B-0BD8-451E-BAD1-66B9143C59C5}" dt="2025-12-29T12:05:28.028" v="47" actId="478"/>
          <ac:spMkLst>
            <pc:docMk/>
            <pc:sldMk cId="9088033" sldId="2147482518"/>
            <ac:spMk id="2" creationId="{3760096F-797B-8087-F680-188BFC982DAA}"/>
          </ac:spMkLst>
        </pc:spChg>
        <pc:spChg chg="mod">
          <ac:chgData name="Hendriks, Rob" userId="c1397476-51d7-416b-9276-de9da7a1b8a6" providerId="ADAL" clId="{5530228B-0BD8-451E-BAD1-66B9143C59C5}" dt="2025-12-29T12:05:25.604" v="46" actId="14100"/>
          <ac:spMkLst>
            <pc:docMk/>
            <pc:sldMk cId="9088033" sldId="2147482518"/>
            <ac:spMk id="4" creationId="{E746B9F8-3B6F-4EF3-BBCF-86FA44E64B78}"/>
          </ac:spMkLst>
        </pc:spChg>
        <pc:picChg chg="add del mod">
          <ac:chgData name="Hendriks, Rob" userId="c1397476-51d7-416b-9276-de9da7a1b8a6" providerId="ADAL" clId="{5530228B-0BD8-451E-BAD1-66B9143C59C5}" dt="2025-12-29T14:59:48.172" v="48" actId="478"/>
          <ac:picMkLst>
            <pc:docMk/>
            <pc:sldMk cId="9088033" sldId="2147482518"/>
            <ac:picMk id="5" creationId="{AD147C1C-EEAC-AE06-B04C-59E9F4B4F011}"/>
          </ac:picMkLst>
        </pc:picChg>
        <pc:picChg chg="add del mod">
          <ac:chgData name="Hendriks, Rob" userId="c1397476-51d7-416b-9276-de9da7a1b8a6" providerId="ADAL" clId="{5530228B-0BD8-451E-BAD1-66B9143C59C5}" dt="2025-12-29T15:04:38.120" v="51" actId="478"/>
          <ac:picMkLst>
            <pc:docMk/>
            <pc:sldMk cId="9088033" sldId="2147482518"/>
            <ac:picMk id="6" creationId="{0758CE44-C008-D642-0720-0170D2A8910A}"/>
          </ac:picMkLst>
        </pc:picChg>
        <pc:picChg chg="add del mod">
          <ac:chgData name="Hendriks, Rob" userId="c1397476-51d7-416b-9276-de9da7a1b8a6" providerId="ADAL" clId="{5530228B-0BD8-451E-BAD1-66B9143C59C5}" dt="2025-12-29T15:44:21.528" v="64" actId="478"/>
          <ac:picMkLst>
            <pc:docMk/>
            <pc:sldMk cId="9088033" sldId="2147482518"/>
            <ac:picMk id="7" creationId="{BE1AA3D2-C973-EB04-D484-AE9F3FAADD40}"/>
          </ac:picMkLst>
        </pc:picChg>
        <pc:picChg chg="add mod">
          <ac:chgData name="Hendriks, Rob" userId="c1397476-51d7-416b-9276-de9da7a1b8a6" providerId="ADAL" clId="{5530228B-0BD8-451E-BAD1-66B9143C59C5}" dt="2025-12-29T15:44:27.910" v="66" actId="1076"/>
          <ac:picMkLst>
            <pc:docMk/>
            <pc:sldMk cId="9088033" sldId="2147482518"/>
            <ac:picMk id="8" creationId="{FB92CE6F-A459-2B94-0654-1D98FE48F83E}"/>
          </ac:picMkLst>
        </pc:picChg>
      </pc:sldChg>
      <pc:sldChg chg="addSp delSp modSp new mod">
        <pc:chgData name="Hendriks, Rob" userId="c1397476-51d7-416b-9276-de9da7a1b8a6" providerId="ADAL" clId="{5530228B-0BD8-451E-BAD1-66B9143C59C5}" dt="2025-12-29T15:52:51.067" v="172" actId="1076"/>
        <pc:sldMkLst>
          <pc:docMk/>
          <pc:sldMk cId="1082921514" sldId="2147482519"/>
        </pc:sldMkLst>
        <pc:spChg chg="del">
          <ac:chgData name="Hendriks, Rob" userId="c1397476-51d7-416b-9276-de9da7a1b8a6" providerId="ADAL" clId="{5530228B-0BD8-451E-BAD1-66B9143C59C5}" dt="2025-12-29T15:50:28.148" v="162" actId="478"/>
          <ac:spMkLst>
            <pc:docMk/>
            <pc:sldMk cId="1082921514" sldId="2147482519"/>
            <ac:spMk id="2" creationId="{422A6F4F-F783-BBA3-EAAB-522ED8BCF77E}"/>
          </ac:spMkLst>
        </pc:spChg>
        <pc:spChg chg="mod">
          <ac:chgData name="Hendriks, Rob" userId="c1397476-51d7-416b-9276-de9da7a1b8a6" providerId="ADAL" clId="{5530228B-0BD8-451E-BAD1-66B9143C59C5}" dt="2025-12-29T15:51:28.062" v="168"/>
          <ac:spMkLst>
            <pc:docMk/>
            <pc:sldMk cId="1082921514" sldId="2147482519"/>
            <ac:spMk id="3" creationId="{E64304AF-942A-6B50-7E72-DE0A3199950B}"/>
          </ac:spMkLst>
        </pc:spChg>
        <pc:spChg chg="add mod">
          <ac:chgData name="Hendriks, Rob" userId="c1397476-51d7-416b-9276-de9da7a1b8a6" providerId="ADAL" clId="{5530228B-0BD8-451E-BAD1-66B9143C59C5}" dt="2025-12-29T15:52:49.522" v="171" actId="1076"/>
          <ac:spMkLst>
            <pc:docMk/>
            <pc:sldMk cId="1082921514" sldId="2147482519"/>
            <ac:spMk id="7" creationId="{6AAA0AFE-E711-7E86-5AA5-DEE53CED429B}"/>
          </ac:spMkLst>
        </pc:spChg>
        <pc:spChg chg="add mod">
          <ac:chgData name="Hendriks, Rob" userId="c1397476-51d7-416b-9276-de9da7a1b8a6" providerId="ADAL" clId="{5530228B-0BD8-451E-BAD1-66B9143C59C5}" dt="2025-12-29T15:50:32.801" v="163" actId="1076"/>
          <ac:spMkLst>
            <pc:docMk/>
            <pc:sldMk cId="1082921514" sldId="2147482519"/>
            <ac:spMk id="8" creationId="{D06C1E8D-7682-4FB1-1EC4-06BBBB73A1A6}"/>
          </ac:spMkLst>
        </pc:spChg>
        <pc:picChg chg="add mod">
          <ac:chgData name="Hendriks, Rob" userId="c1397476-51d7-416b-9276-de9da7a1b8a6" providerId="ADAL" clId="{5530228B-0BD8-451E-BAD1-66B9143C59C5}" dt="2025-12-29T15:52:51.067" v="172" actId="1076"/>
          <ac:picMkLst>
            <pc:docMk/>
            <pc:sldMk cId="1082921514" sldId="2147482519"/>
            <ac:picMk id="5" creationId="{F95A0634-A5EF-1631-07E7-1CB6BE544362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8487FA-FF84-1B5E-CCCB-2A088FAB923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177DAF-43A1-58DD-E748-93BE0ACB5B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44211C-4A9E-8C4C-97BD-75A74A820AC7}" type="datetimeFigureOut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2/29/2025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04EE5-42B0-7389-3EEA-8484AE07F1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A68BA1-9C50-DD81-9DB3-53BBF5BA2C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0AC1E4-93AF-6C46-A091-93B307E81D8D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3996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533895C0-2991-1741-81AF-563E5518032A}" type="datetimeFigureOut">
              <a:rPr lang="en-US" smtClean="0"/>
              <a:pPr/>
              <a:t>12/29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875E972-9F07-2B4C-A7FE-11ACC38BEE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7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7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302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269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8868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3557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BE46D6-FD34-0335-2348-5A0E042820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FC0C27-ABFA-523A-CB8F-2589615422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39E21B-5987-968D-F491-04D173A418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274540-8CDF-94D3-B2F0-531AD96BE1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6775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4190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323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311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 (vertical logo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2C8AFC2-36E4-52EC-B86B-1DDFCE2421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5E74CAA-EA60-CED8-13BE-2CFDF3D286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44A6A6-80D1-A231-5BCE-9159D9EAB6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2513AC-DD08-E431-BEF0-0302DD1975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265EDB1-2D49-0860-F31E-C48BA83356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71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0454C2E0-1A4D-C3BC-8805-19BA074B45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04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nd 1/2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4D4ADBDF-40DC-0727-7500-3CB2AD5297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4290930 w 4572000"/>
              <a:gd name="connsiteY0" fmla="*/ 4918662 h 5143500"/>
              <a:gd name="connsiteX1" fmla="*/ 4290937 w 4572000"/>
              <a:gd name="connsiteY1" fmla="*/ 4918670 h 5143500"/>
              <a:gd name="connsiteX2" fmla="*/ 4290930 w 4572000"/>
              <a:gd name="connsiteY2" fmla="*/ 4918680 h 5143500"/>
              <a:gd name="connsiteX3" fmla="*/ 4185882 w 4572000"/>
              <a:gd name="connsiteY3" fmla="*/ 4908682 h 5143500"/>
              <a:gd name="connsiteX4" fmla="*/ 4211191 w 4572000"/>
              <a:gd name="connsiteY4" fmla="*/ 4931060 h 5143500"/>
              <a:gd name="connsiteX5" fmla="*/ 4185882 w 4572000"/>
              <a:gd name="connsiteY5" fmla="*/ 4955819 h 5143500"/>
              <a:gd name="connsiteX6" fmla="*/ 4180150 w 4572000"/>
              <a:gd name="connsiteY6" fmla="*/ 4955819 h 5143500"/>
              <a:gd name="connsiteX7" fmla="*/ 4180150 w 4572000"/>
              <a:gd name="connsiteY7" fmla="*/ 4908800 h 5143500"/>
              <a:gd name="connsiteX8" fmla="*/ 4185882 w 4572000"/>
              <a:gd name="connsiteY8" fmla="*/ 4908682 h 5143500"/>
              <a:gd name="connsiteX9" fmla="*/ 3737514 w 4572000"/>
              <a:gd name="connsiteY9" fmla="*/ 4908682 h 5143500"/>
              <a:gd name="connsiteX10" fmla="*/ 3762824 w 4572000"/>
              <a:gd name="connsiteY10" fmla="*/ 4931060 h 5143500"/>
              <a:gd name="connsiteX11" fmla="*/ 3737514 w 4572000"/>
              <a:gd name="connsiteY11" fmla="*/ 4955819 h 5143500"/>
              <a:gd name="connsiteX12" fmla="*/ 3731782 w 4572000"/>
              <a:gd name="connsiteY12" fmla="*/ 4955819 h 5143500"/>
              <a:gd name="connsiteX13" fmla="*/ 3731782 w 4572000"/>
              <a:gd name="connsiteY13" fmla="*/ 4908800 h 5143500"/>
              <a:gd name="connsiteX14" fmla="*/ 3737514 w 4572000"/>
              <a:gd name="connsiteY14" fmla="*/ 4908682 h 5143500"/>
              <a:gd name="connsiteX15" fmla="*/ 4084176 w 4572000"/>
              <a:gd name="connsiteY15" fmla="*/ 4889642 h 5143500"/>
              <a:gd name="connsiteX16" fmla="*/ 4084176 w 4572000"/>
              <a:gd name="connsiteY16" fmla="*/ 5003422 h 5143500"/>
              <a:gd name="connsiteX17" fmla="*/ 4119036 w 4572000"/>
              <a:gd name="connsiteY17" fmla="*/ 5003422 h 5143500"/>
              <a:gd name="connsiteX18" fmla="*/ 4119036 w 4572000"/>
              <a:gd name="connsiteY18" fmla="*/ 4889642 h 5143500"/>
              <a:gd name="connsiteX19" fmla="*/ 4003476 w 4572000"/>
              <a:gd name="connsiteY19" fmla="*/ 4889642 h 5143500"/>
              <a:gd name="connsiteX20" fmla="*/ 4003476 w 4572000"/>
              <a:gd name="connsiteY20" fmla="*/ 5003422 h 5143500"/>
              <a:gd name="connsiteX21" fmla="*/ 4066503 w 4572000"/>
              <a:gd name="connsiteY21" fmla="*/ 5003422 h 5143500"/>
              <a:gd name="connsiteX22" fmla="*/ 4071759 w 4572000"/>
              <a:gd name="connsiteY22" fmla="*/ 4980570 h 5143500"/>
              <a:gd name="connsiteX23" fmla="*/ 4038337 w 4572000"/>
              <a:gd name="connsiteY23" fmla="*/ 4980570 h 5143500"/>
              <a:gd name="connsiteX24" fmla="*/ 4038337 w 4572000"/>
              <a:gd name="connsiteY24" fmla="*/ 4889642 h 5143500"/>
              <a:gd name="connsiteX25" fmla="*/ 3942839 w 4572000"/>
              <a:gd name="connsiteY25" fmla="*/ 4889642 h 5143500"/>
              <a:gd name="connsiteX26" fmla="*/ 3942839 w 4572000"/>
              <a:gd name="connsiteY26" fmla="*/ 5003422 h 5143500"/>
              <a:gd name="connsiteX27" fmla="*/ 3977700 w 4572000"/>
              <a:gd name="connsiteY27" fmla="*/ 5003422 h 5143500"/>
              <a:gd name="connsiteX28" fmla="*/ 3977700 w 4572000"/>
              <a:gd name="connsiteY28" fmla="*/ 4889642 h 5143500"/>
              <a:gd name="connsiteX29" fmla="*/ 3811044 w 4572000"/>
              <a:gd name="connsiteY29" fmla="*/ 4889642 h 5143500"/>
              <a:gd name="connsiteX30" fmla="*/ 3811044 w 4572000"/>
              <a:gd name="connsiteY30" fmla="*/ 5003422 h 5143500"/>
              <a:gd name="connsiteX31" fmla="*/ 3845905 w 4572000"/>
              <a:gd name="connsiteY31" fmla="*/ 5003422 h 5143500"/>
              <a:gd name="connsiteX32" fmla="*/ 3845905 w 4572000"/>
              <a:gd name="connsiteY32" fmla="*/ 4958675 h 5143500"/>
              <a:gd name="connsiteX33" fmla="*/ 3882193 w 4572000"/>
              <a:gd name="connsiteY33" fmla="*/ 4958675 h 5143500"/>
              <a:gd name="connsiteX34" fmla="*/ 3882193 w 4572000"/>
              <a:gd name="connsiteY34" fmla="*/ 5003422 h 5143500"/>
              <a:gd name="connsiteX35" fmla="*/ 3917054 w 4572000"/>
              <a:gd name="connsiteY35" fmla="*/ 5003422 h 5143500"/>
              <a:gd name="connsiteX36" fmla="*/ 3917054 w 4572000"/>
              <a:gd name="connsiteY36" fmla="*/ 4889642 h 5143500"/>
              <a:gd name="connsiteX37" fmla="*/ 3882193 w 4572000"/>
              <a:gd name="connsiteY37" fmla="*/ 4889642 h 5143500"/>
              <a:gd name="connsiteX38" fmla="*/ 3882193 w 4572000"/>
              <a:gd name="connsiteY38" fmla="*/ 4934873 h 5143500"/>
              <a:gd name="connsiteX39" fmla="*/ 3845905 w 4572000"/>
              <a:gd name="connsiteY39" fmla="*/ 4934873 h 5143500"/>
              <a:gd name="connsiteX40" fmla="*/ 3845905 w 4572000"/>
              <a:gd name="connsiteY40" fmla="*/ 4889642 h 5143500"/>
              <a:gd name="connsiteX41" fmla="*/ 4187786 w 4572000"/>
              <a:gd name="connsiteY41" fmla="*/ 4887261 h 5143500"/>
              <a:gd name="connsiteX42" fmla="*/ 4145289 w 4572000"/>
              <a:gd name="connsiteY42" fmla="*/ 4889642 h 5143500"/>
              <a:gd name="connsiteX43" fmla="*/ 4145289 w 4572000"/>
              <a:gd name="connsiteY43" fmla="*/ 5003422 h 5143500"/>
              <a:gd name="connsiteX44" fmla="*/ 4180150 w 4572000"/>
              <a:gd name="connsiteY44" fmla="*/ 5003422 h 5143500"/>
              <a:gd name="connsiteX45" fmla="*/ 4180150 w 4572000"/>
              <a:gd name="connsiteY45" fmla="*/ 4976282 h 5143500"/>
              <a:gd name="connsiteX46" fmla="*/ 4192566 w 4572000"/>
              <a:gd name="connsiteY46" fmla="*/ 4976282 h 5143500"/>
              <a:gd name="connsiteX47" fmla="*/ 4192566 w 4572000"/>
              <a:gd name="connsiteY47" fmla="*/ 4976291 h 5143500"/>
              <a:gd name="connsiteX48" fmla="*/ 4245567 w 4572000"/>
              <a:gd name="connsiteY48" fmla="*/ 4930586 h 5143500"/>
              <a:gd name="connsiteX49" fmla="*/ 4187786 w 4572000"/>
              <a:gd name="connsiteY49" fmla="*/ 4887261 h 5143500"/>
              <a:gd name="connsiteX50" fmla="*/ 3739428 w 4572000"/>
              <a:gd name="connsiteY50" fmla="*/ 4887261 h 5143500"/>
              <a:gd name="connsiteX51" fmla="*/ 3696931 w 4572000"/>
              <a:gd name="connsiteY51" fmla="*/ 4889642 h 5143500"/>
              <a:gd name="connsiteX52" fmla="*/ 3696931 w 4572000"/>
              <a:gd name="connsiteY52" fmla="*/ 5003422 h 5143500"/>
              <a:gd name="connsiteX53" fmla="*/ 3731791 w 4572000"/>
              <a:gd name="connsiteY53" fmla="*/ 5003422 h 5143500"/>
              <a:gd name="connsiteX54" fmla="*/ 3731791 w 4572000"/>
              <a:gd name="connsiteY54" fmla="*/ 4976282 h 5143500"/>
              <a:gd name="connsiteX55" fmla="*/ 3744208 w 4572000"/>
              <a:gd name="connsiteY55" fmla="*/ 4976282 h 5143500"/>
              <a:gd name="connsiteX56" fmla="*/ 3744199 w 4572000"/>
              <a:gd name="connsiteY56" fmla="*/ 4976291 h 5143500"/>
              <a:gd name="connsiteX57" fmla="*/ 3797199 w 4572000"/>
              <a:gd name="connsiteY57" fmla="*/ 4930586 h 5143500"/>
              <a:gd name="connsiteX58" fmla="*/ 3739428 w 4572000"/>
              <a:gd name="connsiteY58" fmla="*/ 4887261 h 5143500"/>
              <a:gd name="connsiteX59" fmla="*/ 4303337 w 4572000"/>
              <a:gd name="connsiteY59" fmla="*/ 4887252 h 5143500"/>
              <a:gd name="connsiteX60" fmla="*/ 4256069 w 4572000"/>
              <a:gd name="connsiteY60" fmla="*/ 4921527 h 5143500"/>
              <a:gd name="connsiteX61" fmla="*/ 4310507 w 4572000"/>
              <a:gd name="connsiteY61" fmla="*/ 4971994 h 5143500"/>
              <a:gd name="connsiteX62" fmla="*/ 4292367 w 4572000"/>
              <a:gd name="connsiteY62" fmla="*/ 4982942 h 5143500"/>
              <a:gd name="connsiteX63" fmla="*/ 4252736 w 4572000"/>
              <a:gd name="connsiteY63" fmla="*/ 4973892 h 5143500"/>
              <a:gd name="connsiteX64" fmla="*/ 4256555 w 4572000"/>
              <a:gd name="connsiteY64" fmla="*/ 5000074 h 5143500"/>
              <a:gd name="connsiteX65" fmla="*/ 4292844 w 4572000"/>
              <a:gd name="connsiteY65" fmla="*/ 5005785 h 5143500"/>
              <a:gd name="connsiteX66" fmla="*/ 4345844 w 4572000"/>
              <a:gd name="connsiteY66" fmla="*/ 4967697 h 5143500"/>
              <a:gd name="connsiteX67" fmla="*/ 4299510 w 4572000"/>
              <a:gd name="connsiteY67" fmla="*/ 4928600 h 5143500"/>
              <a:gd name="connsiteX68" fmla="*/ 4290937 w 4572000"/>
              <a:gd name="connsiteY68" fmla="*/ 4918670 h 5143500"/>
              <a:gd name="connsiteX69" fmla="*/ 4295287 w 4572000"/>
              <a:gd name="connsiteY69" fmla="*/ 4911836 h 5143500"/>
              <a:gd name="connsiteX70" fmla="*/ 4307165 w 4572000"/>
              <a:gd name="connsiteY70" fmla="*/ 4909630 h 5143500"/>
              <a:gd name="connsiteX71" fmla="*/ 4338198 w 4572000"/>
              <a:gd name="connsiteY71" fmla="*/ 4915341 h 5143500"/>
              <a:gd name="connsiteX72" fmla="*/ 4335332 w 4572000"/>
              <a:gd name="connsiteY72" fmla="*/ 4890582 h 5143500"/>
              <a:gd name="connsiteX73" fmla="*/ 4303337 w 4572000"/>
              <a:gd name="connsiteY73" fmla="*/ 4887252 h 5143500"/>
              <a:gd name="connsiteX74" fmla="*/ 0 w 4572000"/>
              <a:gd name="connsiteY74" fmla="*/ 0 h 5143500"/>
              <a:gd name="connsiteX75" fmla="*/ 4572000 w 4572000"/>
              <a:gd name="connsiteY75" fmla="*/ 0 h 5143500"/>
              <a:gd name="connsiteX76" fmla="*/ 4572000 w 4572000"/>
              <a:gd name="connsiteY76" fmla="*/ 5143500 h 5143500"/>
              <a:gd name="connsiteX77" fmla="*/ 0 w 457200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4572000" h="5143500">
                <a:moveTo>
                  <a:pt x="4290930" y="4918662"/>
                </a:moveTo>
                <a:lnTo>
                  <a:pt x="4290937" y="4918670"/>
                </a:lnTo>
                <a:lnTo>
                  <a:pt x="4290930" y="4918680"/>
                </a:lnTo>
                <a:close/>
                <a:moveTo>
                  <a:pt x="4185882" y="4908682"/>
                </a:moveTo>
                <a:cubicBezTo>
                  <a:pt x="4203069" y="4908682"/>
                  <a:pt x="4211191" y="4916774"/>
                  <a:pt x="4211191" y="4931060"/>
                </a:cubicBezTo>
                <a:cubicBezTo>
                  <a:pt x="4211191" y="4945821"/>
                  <a:pt x="4204031" y="4955819"/>
                  <a:pt x="4185882" y="4955819"/>
                </a:cubicBezTo>
                <a:lnTo>
                  <a:pt x="4180150" y="4955819"/>
                </a:lnTo>
                <a:lnTo>
                  <a:pt x="4180150" y="4908800"/>
                </a:lnTo>
                <a:cubicBezTo>
                  <a:pt x="4182173" y="4908682"/>
                  <a:pt x="4184087" y="4908682"/>
                  <a:pt x="4185882" y="4908682"/>
                </a:cubicBezTo>
                <a:close/>
                <a:moveTo>
                  <a:pt x="3737514" y="4908682"/>
                </a:moveTo>
                <a:cubicBezTo>
                  <a:pt x="3754702" y="4908682"/>
                  <a:pt x="3762824" y="4916774"/>
                  <a:pt x="3762824" y="4931060"/>
                </a:cubicBezTo>
                <a:cubicBezTo>
                  <a:pt x="3762824" y="4945821"/>
                  <a:pt x="3755663" y="4955819"/>
                  <a:pt x="3737514" y="4955819"/>
                </a:cubicBezTo>
                <a:lnTo>
                  <a:pt x="3731782" y="4955819"/>
                </a:lnTo>
                <a:lnTo>
                  <a:pt x="3731782" y="4908800"/>
                </a:lnTo>
                <a:cubicBezTo>
                  <a:pt x="3733815" y="4908682"/>
                  <a:pt x="3735720" y="4908682"/>
                  <a:pt x="3737514" y="4908682"/>
                </a:cubicBezTo>
                <a:close/>
                <a:moveTo>
                  <a:pt x="4084176" y="4889642"/>
                </a:moveTo>
                <a:lnTo>
                  <a:pt x="4084176" y="5003422"/>
                </a:lnTo>
                <a:lnTo>
                  <a:pt x="4119036" y="5003422"/>
                </a:lnTo>
                <a:lnTo>
                  <a:pt x="4119036" y="4889642"/>
                </a:lnTo>
                <a:close/>
                <a:moveTo>
                  <a:pt x="4003476" y="4889642"/>
                </a:moveTo>
                <a:lnTo>
                  <a:pt x="4003476" y="5003422"/>
                </a:lnTo>
                <a:lnTo>
                  <a:pt x="4066503" y="5003422"/>
                </a:lnTo>
                <a:lnTo>
                  <a:pt x="4071759" y="4980570"/>
                </a:lnTo>
                <a:lnTo>
                  <a:pt x="4038337" y="4980570"/>
                </a:lnTo>
                <a:lnTo>
                  <a:pt x="4038337" y="4889642"/>
                </a:lnTo>
                <a:close/>
                <a:moveTo>
                  <a:pt x="3942839" y="4889642"/>
                </a:moveTo>
                <a:lnTo>
                  <a:pt x="3942839" y="5003422"/>
                </a:lnTo>
                <a:lnTo>
                  <a:pt x="3977700" y="5003422"/>
                </a:lnTo>
                <a:lnTo>
                  <a:pt x="3977700" y="4889642"/>
                </a:lnTo>
                <a:close/>
                <a:moveTo>
                  <a:pt x="3811044" y="4889642"/>
                </a:moveTo>
                <a:lnTo>
                  <a:pt x="3811044" y="5003422"/>
                </a:lnTo>
                <a:lnTo>
                  <a:pt x="3845905" y="5003422"/>
                </a:lnTo>
                <a:lnTo>
                  <a:pt x="3845905" y="4958675"/>
                </a:lnTo>
                <a:lnTo>
                  <a:pt x="3882193" y="4958675"/>
                </a:lnTo>
                <a:lnTo>
                  <a:pt x="3882193" y="5003422"/>
                </a:lnTo>
                <a:lnTo>
                  <a:pt x="3917054" y="5003422"/>
                </a:lnTo>
                <a:lnTo>
                  <a:pt x="3917054" y="4889642"/>
                </a:lnTo>
                <a:lnTo>
                  <a:pt x="3882193" y="4889642"/>
                </a:lnTo>
                <a:lnTo>
                  <a:pt x="3882193" y="4934873"/>
                </a:lnTo>
                <a:lnTo>
                  <a:pt x="3845905" y="4934873"/>
                </a:lnTo>
                <a:lnTo>
                  <a:pt x="3845905" y="4889642"/>
                </a:lnTo>
                <a:close/>
                <a:moveTo>
                  <a:pt x="4187786" y="4887261"/>
                </a:moveTo>
                <a:cubicBezTo>
                  <a:pt x="4173941" y="4887261"/>
                  <a:pt x="4157230" y="4888210"/>
                  <a:pt x="4145289" y="4889642"/>
                </a:cubicBezTo>
                <a:lnTo>
                  <a:pt x="4145289" y="5003422"/>
                </a:lnTo>
                <a:lnTo>
                  <a:pt x="4180150" y="5003422"/>
                </a:lnTo>
                <a:lnTo>
                  <a:pt x="4180150" y="4976282"/>
                </a:lnTo>
                <a:lnTo>
                  <a:pt x="4192566" y="4976282"/>
                </a:lnTo>
                <a:lnTo>
                  <a:pt x="4192566" y="4976291"/>
                </a:lnTo>
                <a:cubicBezTo>
                  <a:pt x="4225037" y="4976291"/>
                  <a:pt x="4245567" y="4959633"/>
                  <a:pt x="4245567" y="4930586"/>
                </a:cubicBezTo>
                <a:cubicBezTo>
                  <a:pt x="4245567" y="4898692"/>
                  <a:pt x="4223599" y="4887261"/>
                  <a:pt x="4187786" y="4887261"/>
                </a:cubicBezTo>
                <a:close/>
                <a:moveTo>
                  <a:pt x="3739428" y="4887261"/>
                </a:moveTo>
                <a:cubicBezTo>
                  <a:pt x="3725583" y="4887261"/>
                  <a:pt x="3708872" y="4888210"/>
                  <a:pt x="3696931" y="4889642"/>
                </a:cubicBezTo>
                <a:lnTo>
                  <a:pt x="3696931" y="5003422"/>
                </a:lnTo>
                <a:lnTo>
                  <a:pt x="3731791" y="5003422"/>
                </a:lnTo>
                <a:lnTo>
                  <a:pt x="3731791" y="4976282"/>
                </a:lnTo>
                <a:lnTo>
                  <a:pt x="3744208" y="4976282"/>
                </a:lnTo>
                <a:lnTo>
                  <a:pt x="3744199" y="4976291"/>
                </a:lnTo>
                <a:cubicBezTo>
                  <a:pt x="3776669" y="4976291"/>
                  <a:pt x="3797199" y="4959633"/>
                  <a:pt x="3797199" y="4930586"/>
                </a:cubicBezTo>
                <a:cubicBezTo>
                  <a:pt x="3797208" y="4898683"/>
                  <a:pt x="3775241" y="4887261"/>
                  <a:pt x="3739428" y="4887261"/>
                </a:cubicBezTo>
                <a:close/>
                <a:moveTo>
                  <a:pt x="4303337" y="4887252"/>
                </a:moveTo>
                <a:cubicBezTo>
                  <a:pt x="4275162" y="4887252"/>
                  <a:pt x="4256069" y="4898318"/>
                  <a:pt x="4256069" y="4921527"/>
                </a:cubicBezTo>
                <a:cubicBezTo>
                  <a:pt x="4256069" y="4961521"/>
                  <a:pt x="4310507" y="4953429"/>
                  <a:pt x="4310507" y="4971994"/>
                </a:cubicBezTo>
                <a:cubicBezTo>
                  <a:pt x="4310507" y="4979137"/>
                  <a:pt x="4305251" y="4982942"/>
                  <a:pt x="4292367" y="4982942"/>
                </a:cubicBezTo>
                <a:cubicBezTo>
                  <a:pt x="4280903" y="4982942"/>
                  <a:pt x="4263239" y="4979137"/>
                  <a:pt x="4252736" y="4973892"/>
                </a:cubicBezTo>
                <a:lnTo>
                  <a:pt x="4256555" y="5000074"/>
                </a:lnTo>
                <a:cubicBezTo>
                  <a:pt x="4267058" y="5003888"/>
                  <a:pt x="4281388" y="5005785"/>
                  <a:pt x="4292844" y="5005785"/>
                </a:cubicBezTo>
                <a:cubicBezTo>
                  <a:pt x="4321972" y="5005785"/>
                  <a:pt x="4345844" y="4996261"/>
                  <a:pt x="4345844" y="4967697"/>
                </a:cubicBezTo>
                <a:cubicBezTo>
                  <a:pt x="4345844" y="4939131"/>
                  <a:pt x="4314955" y="4936008"/>
                  <a:pt x="4299510" y="4928600"/>
                </a:cubicBezTo>
                <a:lnTo>
                  <a:pt x="4290937" y="4918670"/>
                </a:lnTo>
                <a:lnTo>
                  <a:pt x="4295287" y="4911836"/>
                </a:lnTo>
                <a:cubicBezTo>
                  <a:pt x="4298093" y="4910346"/>
                  <a:pt x="4302152" y="4909630"/>
                  <a:pt x="4307165" y="4909630"/>
                </a:cubicBezTo>
                <a:cubicBezTo>
                  <a:pt x="4318144" y="4909630"/>
                  <a:pt x="4330085" y="4912011"/>
                  <a:pt x="4338198" y="4915341"/>
                </a:cubicBezTo>
                <a:lnTo>
                  <a:pt x="4335332" y="4890582"/>
                </a:lnTo>
                <a:cubicBezTo>
                  <a:pt x="4326257" y="4888675"/>
                  <a:pt x="4318144" y="4887252"/>
                  <a:pt x="4303337" y="4887252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6" name="Footer Placeholder 11">
            <a:extLst>
              <a:ext uri="{FF2B5EF4-FFF2-40B4-BE49-F238E27FC236}">
                <a16:creationId xmlns:a16="http://schemas.microsoft.com/office/drawing/2014/main" id="{876D54D5-622D-C8E4-CD5C-2D01FEA4B5B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36576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12">
            <a:extLst>
              <a:ext uri="{FF2B5EF4-FFF2-40B4-BE49-F238E27FC236}">
                <a16:creationId xmlns:a16="http://schemas.microsoft.com/office/drawing/2014/main" id="{0431AD5C-8671-9AFE-04DD-0F34103D9F1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ABECB-BF56-1EC1-700B-6EE80491A7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2104" y="1839282"/>
            <a:ext cx="3657280" cy="2856543"/>
          </a:xfrm>
        </p:spPr>
        <p:txBody>
          <a:bodyPr/>
          <a:lstStyle>
            <a:lvl1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ist item</a:t>
            </a:r>
          </a:p>
          <a:p>
            <a:pPr lvl="1"/>
            <a:r>
              <a:rPr lang="en-US" dirty="0"/>
              <a:t>List item</a:t>
            </a:r>
          </a:p>
          <a:p>
            <a:pPr lvl="2"/>
            <a:r>
              <a:rPr lang="en-US" dirty="0"/>
              <a:t>List item</a:t>
            </a:r>
          </a:p>
          <a:p>
            <a:pPr lvl="3"/>
            <a:r>
              <a:rPr lang="en-US" dirty="0"/>
              <a:t>List item</a:t>
            </a:r>
          </a:p>
          <a:p>
            <a:pPr lvl="4"/>
            <a:r>
              <a:rPr lang="en-US" dirty="0"/>
              <a:t>List item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55C4CE81-E728-AD2F-72F4-655C91D57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974520"/>
            <a:ext cx="3657281" cy="71913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BDF0FF"/>
                </a:solidFill>
              </a:defRPr>
            </a:lvl1pPr>
          </a:lstStyle>
          <a:p>
            <a:r>
              <a:rPr lang="en-US" dirty="0"/>
              <a:t>Type your headline here </a:t>
            </a:r>
            <a:br>
              <a:rPr lang="en-US" dirty="0"/>
            </a:br>
            <a:r>
              <a:rPr lang="en-US" dirty="0"/>
              <a:t>(ex: Agenda)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16CC379-2329-348A-A0BB-BF2305A004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2104" y="613446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88A61FA-8506-8BDE-75B7-56CF2CF1A5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2104" y="373904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Meeting/Even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3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 (with imag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D78E995-A1DD-8545-84F0-DC4CDC5BD5F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8B1C466-D200-4DC7-D0E2-B4A614BA5B2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F4F6A7D-29A9-865E-B1B3-84E34AE31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6CB73A-A9B6-13DF-87F7-3E10FF24BED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F682B3-AF4A-91C9-4759-8E607A1666A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37A77D-5A68-FA54-71E2-62A93FDC6A7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4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 (with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E2DADD8-E1E5-2BC7-F70F-856D65BF749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41BE682-E648-A30F-488B-DAEEA0E0C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Whit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746B0B-2942-5B4C-DCB9-34A15D547F6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9EFBEDBE-C1AF-5843-C168-0AC571738EF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404327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 (with imag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879EF11-C66F-25CE-5EFB-6055ED7EC2F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AD8C3-A9EB-9986-F97F-413372422A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ight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1C264C-A8C8-C508-F1B9-3B467123058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BE110ED-2D7D-D774-0B80-3F90D3F4E9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344936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 (with ima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483C4F6-50E7-6E1E-D4D2-96582662F3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6C58F87-A9BA-2FA1-B97C-0698020B51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2425AB-1C29-0373-FC31-D4FB7C712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3431" y="2212183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8B69E-8B5D-DA78-AE44-FB6C6BDE89E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A3FF-6101-A89B-8F65-C421806231B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E3089D-E461-0C57-2084-1F72CD158BF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5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F0D7CB1-AD3C-2852-787D-8D22425C381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0ADC6353-6048-E03A-3D77-9D075ACD8B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C52B2FB9-5F5F-3AD4-6FA3-4B103FDE22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6469C53-2653-5C06-7E2F-CD7D6BC91B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8" y="1648421"/>
            <a:ext cx="8138161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609342E-45EF-3B14-6398-69B80ECAAF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385F6C-EE6D-ED6D-18D0-4DE79C3908D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1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C5660C-87D6-8991-CE76-9D054AAB9A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D63F8B-8A74-0E87-A158-F18F0F9C68A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70153C2-9411-C295-333A-E234FF87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Whit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C5F79E5-E3CC-0F06-D2F0-AB9CC0AE2C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269343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B31952-E4A5-D9E8-C52F-5D29A7BC41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8E28A7-BDB3-7FE2-2275-6C094A1DF3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5170887A-6431-1399-F5E5-FA3AD3099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Light blue divider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239A8D7-86F6-5F8F-60A8-D347B9F18D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117109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F4BC162-EBC9-AD4C-50FB-5AE54CFC382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02E108-9147-4964-1570-DD151056425A}"/>
              </a:ext>
            </a:extLst>
          </p:cNvPr>
          <p:cNvSpPr>
            <a:spLocks noGrp="1"/>
          </p:cNvSpPr>
          <p:nvPr userDrawn="1"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7ED613-E8BF-EF44-A246-98413FA79480}"/>
              </a:ext>
            </a:extLst>
          </p:cNvPr>
          <p:cNvSpPr>
            <a:spLocks noGrp="1"/>
          </p:cNvSpPr>
          <p:nvPr userDrawn="1"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14E7F6E-2B69-4BF8-B520-1CCC3F36F2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1A37B65-E4B8-71F7-A78F-77B2D4E42B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FA3403-DB36-5459-127B-003E16CD7F5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2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40DD0C7-5AF6-1A37-ECF9-CC16DE9DDC7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5BC41EF-EEE9-1B6E-5F31-3E428C7719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0D815C2-849B-D7BD-0DB7-A36C1FA4B7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36F285E-21D8-7DCC-C09A-8638AEC14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4904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23826F-0E15-8317-5ABF-92322521F27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500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 (vertical log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B67DB58-F737-AC10-CC1C-15DBD6E977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78A8BD4-EC83-5206-5C7B-605BC11D3A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6B5CCBC-2A7F-98C5-9D8E-0D0149E666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A803C9-3B4E-EB3B-6029-7BDE048835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43539-EB41-4C14-53EF-2935F6D07E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and black logo&#10;&#10;Description automatically generated">
            <a:extLst>
              <a:ext uri="{FF2B5EF4-FFF2-40B4-BE49-F238E27FC236}">
                <a16:creationId xmlns:a16="http://schemas.microsoft.com/office/drawing/2014/main" id="{84AA1B72-4063-89DB-D076-1E2338DCA0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61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2F1EC1-2658-C047-B1BA-7D4E1C0429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53026-A825-4528-4CF3-B5A9681011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B2A843-3D74-BE80-F9C6-089029FBB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6540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970542-4FDB-B324-ECE0-DE3F5DFAF1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DCCC7D-4FA5-392C-1757-004F3007C8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2D381BB-CD2F-C7BC-1AFA-2073F1739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3714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101F003-E183-0112-A786-7AA9F6D0DE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AB06B5-4F14-55FD-A5A0-3ED51EB49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0D042B-CFFA-A2E0-2A91-CEF83AE1A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68A8DF2-CDA7-D81B-B404-AB351FB68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076A43-B32F-C6BC-95CF-AF3D220BC56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343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1C77D-DDC8-3024-919F-538FECE1E6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2" y="1211263"/>
            <a:ext cx="8138160" cy="3484800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17A39C56-76E5-6D8E-D2AE-E974200C1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834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116B89-87B5-8107-A5CD-141BB74225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033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B6E554A-6B73-15E4-3764-C5F8C8ADA4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2AED31B2-8BB2-E9B2-06B3-96133C2A7C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109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C1EB096-CDA0-FBC3-ACB0-B46F4AC10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3E0B99A-29EB-A6B9-09B7-861A3D1249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7488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AA75FF5-94F5-C44C-32B7-5EC624735A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4967F1C9-9964-32B9-28CE-CDB003517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116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5D507BA-0817-31A1-44FE-891B1C7FA17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253180" y="0"/>
            <a:ext cx="5888736" cy="5143500"/>
          </a:xfrm>
          <a:custGeom>
            <a:avLst/>
            <a:gdLst>
              <a:gd name="connsiteX0" fmla="*/ 5609750 w 5890820"/>
              <a:gd name="connsiteY0" fmla="*/ 4918662 h 5143500"/>
              <a:gd name="connsiteX1" fmla="*/ 5609757 w 5890820"/>
              <a:gd name="connsiteY1" fmla="*/ 4918670 h 5143500"/>
              <a:gd name="connsiteX2" fmla="*/ 5609750 w 5890820"/>
              <a:gd name="connsiteY2" fmla="*/ 4918680 h 5143500"/>
              <a:gd name="connsiteX3" fmla="*/ 5504702 w 5890820"/>
              <a:gd name="connsiteY3" fmla="*/ 4908682 h 5143500"/>
              <a:gd name="connsiteX4" fmla="*/ 5530011 w 5890820"/>
              <a:gd name="connsiteY4" fmla="*/ 4931060 h 5143500"/>
              <a:gd name="connsiteX5" fmla="*/ 5504702 w 5890820"/>
              <a:gd name="connsiteY5" fmla="*/ 4955819 h 5143500"/>
              <a:gd name="connsiteX6" fmla="*/ 5498970 w 5890820"/>
              <a:gd name="connsiteY6" fmla="*/ 4955819 h 5143500"/>
              <a:gd name="connsiteX7" fmla="*/ 5498970 w 5890820"/>
              <a:gd name="connsiteY7" fmla="*/ 4908800 h 5143500"/>
              <a:gd name="connsiteX8" fmla="*/ 5504702 w 5890820"/>
              <a:gd name="connsiteY8" fmla="*/ 4908682 h 5143500"/>
              <a:gd name="connsiteX9" fmla="*/ 5056334 w 5890820"/>
              <a:gd name="connsiteY9" fmla="*/ 4908682 h 5143500"/>
              <a:gd name="connsiteX10" fmla="*/ 5081644 w 5890820"/>
              <a:gd name="connsiteY10" fmla="*/ 4931060 h 5143500"/>
              <a:gd name="connsiteX11" fmla="*/ 5056334 w 5890820"/>
              <a:gd name="connsiteY11" fmla="*/ 4955819 h 5143500"/>
              <a:gd name="connsiteX12" fmla="*/ 5050602 w 5890820"/>
              <a:gd name="connsiteY12" fmla="*/ 4955819 h 5143500"/>
              <a:gd name="connsiteX13" fmla="*/ 5050602 w 5890820"/>
              <a:gd name="connsiteY13" fmla="*/ 4908800 h 5143500"/>
              <a:gd name="connsiteX14" fmla="*/ 5056334 w 5890820"/>
              <a:gd name="connsiteY14" fmla="*/ 4908682 h 5143500"/>
              <a:gd name="connsiteX15" fmla="*/ 5402996 w 5890820"/>
              <a:gd name="connsiteY15" fmla="*/ 4889642 h 5143500"/>
              <a:gd name="connsiteX16" fmla="*/ 5402996 w 5890820"/>
              <a:gd name="connsiteY16" fmla="*/ 5003422 h 5143500"/>
              <a:gd name="connsiteX17" fmla="*/ 5437856 w 5890820"/>
              <a:gd name="connsiteY17" fmla="*/ 5003422 h 5143500"/>
              <a:gd name="connsiteX18" fmla="*/ 5437856 w 5890820"/>
              <a:gd name="connsiteY18" fmla="*/ 4889642 h 5143500"/>
              <a:gd name="connsiteX19" fmla="*/ 5322296 w 5890820"/>
              <a:gd name="connsiteY19" fmla="*/ 4889642 h 5143500"/>
              <a:gd name="connsiteX20" fmla="*/ 5322296 w 5890820"/>
              <a:gd name="connsiteY20" fmla="*/ 5003422 h 5143500"/>
              <a:gd name="connsiteX21" fmla="*/ 5385323 w 5890820"/>
              <a:gd name="connsiteY21" fmla="*/ 5003422 h 5143500"/>
              <a:gd name="connsiteX22" fmla="*/ 5390579 w 5890820"/>
              <a:gd name="connsiteY22" fmla="*/ 4980570 h 5143500"/>
              <a:gd name="connsiteX23" fmla="*/ 5357157 w 5890820"/>
              <a:gd name="connsiteY23" fmla="*/ 4980570 h 5143500"/>
              <a:gd name="connsiteX24" fmla="*/ 5357157 w 5890820"/>
              <a:gd name="connsiteY24" fmla="*/ 4889642 h 5143500"/>
              <a:gd name="connsiteX25" fmla="*/ 5261659 w 5890820"/>
              <a:gd name="connsiteY25" fmla="*/ 4889642 h 5143500"/>
              <a:gd name="connsiteX26" fmla="*/ 5261659 w 5890820"/>
              <a:gd name="connsiteY26" fmla="*/ 5003422 h 5143500"/>
              <a:gd name="connsiteX27" fmla="*/ 5296520 w 5890820"/>
              <a:gd name="connsiteY27" fmla="*/ 5003422 h 5143500"/>
              <a:gd name="connsiteX28" fmla="*/ 5296520 w 5890820"/>
              <a:gd name="connsiteY28" fmla="*/ 4889642 h 5143500"/>
              <a:gd name="connsiteX29" fmla="*/ 5129864 w 5890820"/>
              <a:gd name="connsiteY29" fmla="*/ 4889642 h 5143500"/>
              <a:gd name="connsiteX30" fmla="*/ 5129864 w 5890820"/>
              <a:gd name="connsiteY30" fmla="*/ 5003422 h 5143500"/>
              <a:gd name="connsiteX31" fmla="*/ 5164725 w 5890820"/>
              <a:gd name="connsiteY31" fmla="*/ 5003422 h 5143500"/>
              <a:gd name="connsiteX32" fmla="*/ 5164725 w 5890820"/>
              <a:gd name="connsiteY32" fmla="*/ 4958675 h 5143500"/>
              <a:gd name="connsiteX33" fmla="*/ 5201013 w 5890820"/>
              <a:gd name="connsiteY33" fmla="*/ 4958675 h 5143500"/>
              <a:gd name="connsiteX34" fmla="*/ 5201013 w 5890820"/>
              <a:gd name="connsiteY34" fmla="*/ 5003422 h 5143500"/>
              <a:gd name="connsiteX35" fmla="*/ 5235874 w 5890820"/>
              <a:gd name="connsiteY35" fmla="*/ 5003422 h 5143500"/>
              <a:gd name="connsiteX36" fmla="*/ 5235874 w 5890820"/>
              <a:gd name="connsiteY36" fmla="*/ 4889642 h 5143500"/>
              <a:gd name="connsiteX37" fmla="*/ 5201013 w 5890820"/>
              <a:gd name="connsiteY37" fmla="*/ 4889642 h 5143500"/>
              <a:gd name="connsiteX38" fmla="*/ 5201013 w 5890820"/>
              <a:gd name="connsiteY38" fmla="*/ 4934873 h 5143500"/>
              <a:gd name="connsiteX39" fmla="*/ 5164725 w 5890820"/>
              <a:gd name="connsiteY39" fmla="*/ 4934873 h 5143500"/>
              <a:gd name="connsiteX40" fmla="*/ 5164725 w 5890820"/>
              <a:gd name="connsiteY40" fmla="*/ 4889642 h 5143500"/>
              <a:gd name="connsiteX41" fmla="*/ 5506606 w 5890820"/>
              <a:gd name="connsiteY41" fmla="*/ 4887261 h 5143500"/>
              <a:gd name="connsiteX42" fmla="*/ 5464109 w 5890820"/>
              <a:gd name="connsiteY42" fmla="*/ 4889642 h 5143500"/>
              <a:gd name="connsiteX43" fmla="*/ 5464109 w 5890820"/>
              <a:gd name="connsiteY43" fmla="*/ 5003422 h 5143500"/>
              <a:gd name="connsiteX44" fmla="*/ 5498970 w 5890820"/>
              <a:gd name="connsiteY44" fmla="*/ 5003422 h 5143500"/>
              <a:gd name="connsiteX45" fmla="*/ 5498970 w 5890820"/>
              <a:gd name="connsiteY45" fmla="*/ 4976282 h 5143500"/>
              <a:gd name="connsiteX46" fmla="*/ 5511386 w 5890820"/>
              <a:gd name="connsiteY46" fmla="*/ 4976282 h 5143500"/>
              <a:gd name="connsiteX47" fmla="*/ 5511386 w 5890820"/>
              <a:gd name="connsiteY47" fmla="*/ 4976291 h 5143500"/>
              <a:gd name="connsiteX48" fmla="*/ 5564387 w 5890820"/>
              <a:gd name="connsiteY48" fmla="*/ 4930586 h 5143500"/>
              <a:gd name="connsiteX49" fmla="*/ 5506606 w 5890820"/>
              <a:gd name="connsiteY49" fmla="*/ 4887261 h 5143500"/>
              <a:gd name="connsiteX50" fmla="*/ 5058248 w 5890820"/>
              <a:gd name="connsiteY50" fmla="*/ 4887261 h 5143500"/>
              <a:gd name="connsiteX51" fmla="*/ 5015751 w 5890820"/>
              <a:gd name="connsiteY51" fmla="*/ 4889642 h 5143500"/>
              <a:gd name="connsiteX52" fmla="*/ 5015751 w 5890820"/>
              <a:gd name="connsiteY52" fmla="*/ 5003422 h 5143500"/>
              <a:gd name="connsiteX53" fmla="*/ 5050611 w 5890820"/>
              <a:gd name="connsiteY53" fmla="*/ 5003422 h 5143500"/>
              <a:gd name="connsiteX54" fmla="*/ 5050611 w 5890820"/>
              <a:gd name="connsiteY54" fmla="*/ 4976282 h 5143500"/>
              <a:gd name="connsiteX55" fmla="*/ 5063028 w 5890820"/>
              <a:gd name="connsiteY55" fmla="*/ 4976282 h 5143500"/>
              <a:gd name="connsiteX56" fmla="*/ 5063019 w 5890820"/>
              <a:gd name="connsiteY56" fmla="*/ 4976291 h 5143500"/>
              <a:gd name="connsiteX57" fmla="*/ 5116019 w 5890820"/>
              <a:gd name="connsiteY57" fmla="*/ 4930586 h 5143500"/>
              <a:gd name="connsiteX58" fmla="*/ 5058248 w 5890820"/>
              <a:gd name="connsiteY58" fmla="*/ 4887261 h 5143500"/>
              <a:gd name="connsiteX59" fmla="*/ 5622157 w 5890820"/>
              <a:gd name="connsiteY59" fmla="*/ 4887252 h 5143500"/>
              <a:gd name="connsiteX60" fmla="*/ 5574889 w 5890820"/>
              <a:gd name="connsiteY60" fmla="*/ 4921527 h 5143500"/>
              <a:gd name="connsiteX61" fmla="*/ 5629327 w 5890820"/>
              <a:gd name="connsiteY61" fmla="*/ 4971994 h 5143500"/>
              <a:gd name="connsiteX62" fmla="*/ 5611187 w 5890820"/>
              <a:gd name="connsiteY62" fmla="*/ 4982942 h 5143500"/>
              <a:gd name="connsiteX63" fmla="*/ 5571556 w 5890820"/>
              <a:gd name="connsiteY63" fmla="*/ 4973892 h 5143500"/>
              <a:gd name="connsiteX64" fmla="*/ 5575375 w 5890820"/>
              <a:gd name="connsiteY64" fmla="*/ 5000074 h 5143500"/>
              <a:gd name="connsiteX65" fmla="*/ 5611664 w 5890820"/>
              <a:gd name="connsiteY65" fmla="*/ 5005785 h 5143500"/>
              <a:gd name="connsiteX66" fmla="*/ 5664664 w 5890820"/>
              <a:gd name="connsiteY66" fmla="*/ 4967697 h 5143500"/>
              <a:gd name="connsiteX67" fmla="*/ 5618330 w 5890820"/>
              <a:gd name="connsiteY67" fmla="*/ 4928600 h 5143500"/>
              <a:gd name="connsiteX68" fmla="*/ 5609757 w 5890820"/>
              <a:gd name="connsiteY68" fmla="*/ 4918670 h 5143500"/>
              <a:gd name="connsiteX69" fmla="*/ 5614107 w 5890820"/>
              <a:gd name="connsiteY69" fmla="*/ 4911836 h 5143500"/>
              <a:gd name="connsiteX70" fmla="*/ 5625985 w 5890820"/>
              <a:gd name="connsiteY70" fmla="*/ 4909630 h 5143500"/>
              <a:gd name="connsiteX71" fmla="*/ 5657018 w 5890820"/>
              <a:gd name="connsiteY71" fmla="*/ 4915341 h 5143500"/>
              <a:gd name="connsiteX72" fmla="*/ 5654152 w 5890820"/>
              <a:gd name="connsiteY72" fmla="*/ 4890582 h 5143500"/>
              <a:gd name="connsiteX73" fmla="*/ 5622157 w 5890820"/>
              <a:gd name="connsiteY73" fmla="*/ 4887252 h 5143500"/>
              <a:gd name="connsiteX74" fmla="*/ 0 w 5890820"/>
              <a:gd name="connsiteY74" fmla="*/ 0 h 5143500"/>
              <a:gd name="connsiteX75" fmla="*/ 5890820 w 5890820"/>
              <a:gd name="connsiteY75" fmla="*/ 0 h 5143500"/>
              <a:gd name="connsiteX76" fmla="*/ 5890820 w 5890820"/>
              <a:gd name="connsiteY76" fmla="*/ 5143500 h 5143500"/>
              <a:gd name="connsiteX77" fmla="*/ 0 w 589082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890820" h="5143500">
                <a:moveTo>
                  <a:pt x="5609750" y="4918662"/>
                </a:moveTo>
                <a:lnTo>
                  <a:pt x="5609757" y="4918670"/>
                </a:lnTo>
                <a:lnTo>
                  <a:pt x="5609750" y="4918680"/>
                </a:lnTo>
                <a:close/>
                <a:moveTo>
                  <a:pt x="5504702" y="4908682"/>
                </a:moveTo>
                <a:cubicBezTo>
                  <a:pt x="5521889" y="4908682"/>
                  <a:pt x="5530011" y="4916774"/>
                  <a:pt x="5530011" y="4931060"/>
                </a:cubicBezTo>
                <a:cubicBezTo>
                  <a:pt x="5530011" y="4945821"/>
                  <a:pt x="5522851" y="4955819"/>
                  <a:pt x="5504702" y="4955819"/>
                </a:cubicBezTo>
                <a:lnTo>
                  <a:pt x="5498970" y="4955819"/>
                </a:lnTo>
                <a:lnTo>
                  <a:pt x="5498970" y="4908800"/>
                </a:lnTo>
                <a:cubicBezTo>
                  <a:pt x="5500993" y="4908682"/>
                  <a:pt x="5502907" y="4908682"/>
                  <a:pt x="5504702" y="4908682"/>
                </a:cubicBezTo>
                <a:close/>
                <a:moveTo>
                  <a:pt x="5056334" y="4908682"/>
                </a:moveTo>
                <a:cubicBezTo>
                  <a:pt x="5073522" y="4908682"/>
                  <a:pt x="5081644" y="4916774"/>
                  <a:pt x="5081644" y="4931060"/>
                </a:cubicBezTo>
                <a:cubicBezTo>
                  <a:pt x="5081644" y="4945821"/>
                  <a:pt x="5074483" y="4955819"/>
                  <a:pt x="5056334" y="4955819"/>
                </a:cubicBezTo>
                <a:lnTo>
                  <a:pt x="5050602" y="4955819"/>
                </a:lnTo>
                <a:lnTo>
                  <a:pt x="5050602" y="4908800"/>
                </a:lnTo>
                <a:cubicBezTo>
                  <a:pt x="5052635" y="4908682"/>
                  <a:pt x="5054540" y="4908682"/>
                  <a:pt x="5056334" y="4908682"/>
                </a:cubicBezTo>
                <a:close/>
                <a:moveTo>
                  <a:pt x="5402996" y="4889642"/>
                </a:moveTo>
                <a:lnTo>
                  <a:pt x="5402996" y="5003422"/>
                </a:lnTo>
                <a:lnTo>
                  <a:pt x="5437856" y="5003422"/>
                </a:lnTo>
                <a:lnTo>
                  <a:pt x="5437856" y="4889642"/>
                </a:lnTo>
                <a:close/>
                <a:moveTo>
                  <a:pt x="5322296" y="4889642"/>
                </a:moveTo>
                <a:lnTo>
                  <a:pt x="5322296" y="5003422"/>
                </a:lnTo>
                <a:lnTo>
                  <a:pt x="5385323" y="5003422"/>
                </a:lnTo>
                <a:lnTo>
                  <a:pt x="5390579" y="4980570"/>
                </a:lnTo>
                <a:lnTo>
                  <a:pt x="5357157" y="4980570"/>
                </a:lnTo>
                <a:lnTo>
                  <a:pt x="5357157" y="4889642"/>
                </a:lnTo>
                <a:close/>
                <a:moveTo>
                  <a:pt x="5261659" y="4889642"/>
                </a:moveTo>
                <a:lnTo>
                  <a:pt x="5261659" y="5003422"/>
                </a:lnTo>
                <a:lnTo>
                  <a:pt x="5296520" y="5003422"/>
                </a:lnTo>
                <a:lnTo>
                  <a:pt x="5296520" y="4889642"/>
                </a:lnTo>
                <a:close/>
                <a:moveTo>
                  <a:pt x="5129864" y="4889642"/>
                </a:moveTo>
                <a:lnTo>
                  <a:pt x="5129864" y="5003422"/>
                </a:lnTo>
                <a:lnTo>
                  <a:pt x="5164725" y="5003422"/>
                </a:lnTo>
                <a:lnTo>
                  <a:pt x="5164725" y="4958675"/>
                </a:lnTo>
                <a:lnTo>
                  <a:pt x="5201013" y="4958675"/>
                </a:lnTo>
                <a:lnTo>
                  <a:pt x="5201013" y="5003422"/>
                </a:lnTo>
                <a:lnTo>
                  <a:pt x="5235874" y="5003422"/>
                </a:lnTo>
                <a:lnTo>
                  <a:pt x="5235874" y="4889642"/>
                </a:lnTo>
                <a:lnTo>
                  <a:pt x="5201013" y="4889642"/>
                </a:lnTo>
                <a:lnTo>
                  <a:pt x="5201013" y="4934873"/>
                </a:lnTo>
                <a:lnTo>
                  <a:pt x="5164725" y="4934873"/>
                </a:lnTo>
                <a:lnTo>
                  <a:pt x="5164725" y="4889642"/>
                </a:lnTo>
                <a:close/>
                <a:moveTo>
                  <a:pt x="5506606" y="4887261"/>
                </a:moveTo>
                <a:cubicBezTo>
                  <a:pt x="5492761" y="4887261"/>
                  <a:pt x="5476050" y="4888210"/>
                  <a:pt x="5464109" y="4889642"/>
                </a:cubicBezTo>
                <a:lnTo>
                  <a:pt x="5464109" y="5003422"/>
                </a:lnTo>
                <a:lnTo>
                  <a:pt x="5498970" y="5003422"/>
                </a:lnTo>
                <a:lnTo>
                  <a:pt x="5498970" y="4976282"/>
                </a:lnTo>
                <a:lnTo>
                  <a:pt x="5511386" y="4976282"/>
                </a:lnTo>
                <a:lnTo>
                  <a:pt x="5511386" y="4976291"/>
                </a:lnTo>
                <a:cubicBezTo>
                  <a:pt x="5543857" y="4976291"/>
                  <a:pt x="5564387" y="4959633"/>
                  <a:pt x="5564387" y="4930586"/>
                </a:cubicBezTo>
                <a:cubicBezTo>
                  <a:pt x="5564387" y="4898692"/>
                  <a:pt x="5542419" y="4887261"/>
                  <a:pt x="5506606" y="4887261"/>
                </a:cubicBezTo>
                <a:close/>
                <a:moveTo>
                  <a:pt x="5058248" y="4887261"/>
                </a:moveTo>
                <a:cubicBezTo>
                  <a:pt x="5044403" y="4887261"/>
                  <a:pt x="5027692" y="4888210"/>
                  <a:pt x="5015751" y="4889642"/>
                </a:cubicBezTo>
                <a:lnTo>
                  <a:pt x="5015751" y="5003422"/>
                </a:lnTo>
                <a:lnTo>
                  <a:pt x="5050611" y="5003422"/>
                </a:lnTo>
                <a:lnTo>
                  <a:pt x="5050611" y="4976282"/>
                </a:lnTo>
                <a:lnTo>
                  <a:pt x="5063028" y="4976282"/>
                </a:lnTo>
                <a:lnTo>
                  <a:pt x="5063019" y="4976291"/>
                </a:lnTo>
                <a:cubicBezTo>
                  <a:pt x="5095489" y="4976291"/>
                  <a:pt x="5116019" y="4959633"/>
                  <a:pt x="5116019" y="4930586"/>
                </a:cubicBezTo>
                <a:cubicBezTo>
                  <a:pt x="5116028" y="4898683"/>
                  <a:pt x="5094061" y="4887261"/>
                  <a:pt x="5058248" y="4887261"/>
                </a:cubicBezTo>
                <a:close/>
                <a:moveTo>
                  <a:pt x="5622157" y="4887252"/>
                </a:moveTo>
                <a:cubicBezTo>
                  <a:pt x="5593982" y="4887252"/>
                  <a:pt x="5574889" y="4898318"/>
                  <a:pt x="5574889" y="4921527"/>
                </a:cubicBezTo>
                <a:cubicBezTo>
                  <a:pt x="5574889" y="4961521"/>
                  <a:pt x="5629327" y="4953429"/>
                  <a:pt x="5629327" y="4971994"/>
                </a:cubicBezTo>
                <a:cubicBezTo>
                  <a:pt x="5629327" y="4979137"/>
                  <a:pt x="5624071" y="4982942"/>
                  <a:pt x="5611187" y="4982942"/>
                </a:cubicBezTo>
                <a:cubicBezTo>
                  <a:pt x="5599723" y="4982942"/>
                  <a:pt x="5582059" y="4979137"/>
                  <a:pt x="5571556" y="4973892"/>
                </a:cubicBezTo>
                <a:lnTo>
                  <a:pt x="5575375" y="5000074"/>
                </a:lnTo>
                <a:cubicBezTo>
                  <a:pt x="5585878" y="5003888"/>
                  <a:pt x="5600208" y="5005785"/>
                  <a:pt x="5611664" y="5005785"/>
                </a:cubicBezTo>
                <a:cubicBezTo>
                  <a:pt x="5640792" y="5005785"/>
                  <a:pt x="5664664" y="4996261"/>
                  <a:pt x="5664664" y="4967697"/>
                </a:cubicBezTo>
                <a:cubicBezTo>
                  <a:pt x="5664664" y="4939131"/>
                  <a:pt x="5633775" y="4936008"/>
                  <a:pt x="5618330" y="4928600"/>
                </a:cubicBezTo>
                <a:lnTo>
                  <a:pt x="5609757" y="4918670"/>
                </a:lnTo>
                <a:lnTo>
                  <a:pt x="5614107" y="4911836"/>
                </a:lnTo>
                <a:cubicBezTo>
                  <a:pt x="5616913" y="4910346"/>
                  <a:pt x="5620972" y="4909630"/>
                  <a:pt x="5625985" y="4909630"/>
                </a:cubicBezTo>
                <a:cubicBezTo>
                  <a:pt x="5636964" y="4909630"/>
                  <a:pt x="5648905" y="4912011"/>
                  <a:pt x="5657018" y="4915341"/>
                </a:cubicBezTo>
                <a:lnTo>
                  <a:pt x="5654152" y="4890582"/>
                </a:lnTo>
                <a:cubicBezTo>
                  <a:pt x="5645077" y="4888675"/>
                  <a:pt x="5636964" y="4887252"/>
                  <a:pt x="5622157" y="4887252"/>
                </a:cubicBezTo>
                <a:close/>
                <a:moveTo>
                  <a:pt x="0" y="0"/>
                </a:moveTo>
                <a:lnTo>
                  <a:pt x="5890820" y="0"/>
                </a:lnTo>
                <a:lnTo>
                  <a:pt x="589082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39233B01-D8A4-FE06-9412-52107B278D8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C26D52-4263-A84E-BE9C-E8B266F7A2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DFB18B-FAF9-0022-13B7-568D84204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5178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4F529D8-9C6F-58F5-0254-996E808C09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9F63E1-D3F3-F243-D730-F89C53934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0149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  <p:sp>
        <p:nvSpPr>
          <p:cNvPr id="4" name="Footer Placeholder 11">
            <a:extLst>
              <a:ext uri="{FF2B5EF4-FFF2-40B4-BE49-F238E27FC236}">
                <a16:creationId xmlns:a16="http://schemas.microsoft.com/office/drawing/2014/main" id="{D019B56E-17F1-60C5-DE51-C73526AF218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3C5F3973-0A3E-BA0D-7446-25212BF944F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589082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210810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14F1EF4-283E-34CE-199C-D2F9ED23AA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862930 w 9144000"/>
              <a:gd name="connsiteY0" fmla="*/ 4918662 h 5143500"/>
              <a:gd name="connsiteX1" fmla="*/ 8862940 w 9144000"/>
              <a:gd name="connsiteY1" fmla="*/ 4918674 h 5143500"/>
              <a:gd name="connsiteX2" fmla="*/ 8862930 w 9144000"/>
              <a:gd name="connsiteY2" fmla="*/ 4918680 h 5143500"/>
              <a:gd name="connsiteX3" fmla="*/ 8757882 w 9144000"/>
              <a:gd name="connsiteY3" fmla="*/ 4908682 h 5143500"/>
              <a:gd name="connsiteX4" fmla="*/ 8783191 w 9144000"/>
              <a:gd name="connsiteY4" fmla="*/ 4931060 h 5143500"/>
              <a:gd name="connsiteX5" fmla="*/ 8757882 w 9144000"/>
              <a:gd name="connsiteY5" fmla="*/ 4955819 h 5143500"/>
              <a:gd name="connsiteX6" fmla="*/ 8752150 w 9144000"/>
              <a:gd name="connsiteY6" fmla="*/ 4955819 h 5143500"/>
              <a:gd name="connsiteX7" fmla="*/ 8752150 w 9144000"/>
              <a:gd name="connsiteY7" fmla="*/ 4908800 h 5143500"/>
              <a:gd name="connsiteX8" fmla="*/ 8757882 w 9144000"/>
              <a:gd name="connsiteY8" fmla="*/ 4908682 h 5143500"/>
              <a:gd name="connsiteX9" fmla="*/ 8309514 w 9144000"/>
              <a:gd name="connsiteY9" fmla="*/ 4908682 h 5143500"/>
              <a:gd name="connsiteX10" fmla="*/ 8334824 w 9144000"/>
              <a:gd name="connsiteY10" fmla="*/ 4931060 h 5143500"/>
              <a:gd name="connsiteX11" fmla="*/ 8309514 w 9144000"/>
              <a:gd name="connsiteY11" fmla="*/ 4955819 h 5143500"/>
              <a:gd name="connsiteX12" fmla="*/ 8303782 w 9144000"/>
              <a:gd name="connsiteY12" fmla="*/ 4955819 h 5143500"/>
              <a:gd name="connsiteX13" fmla="*/ 8303782 w 9144000"/>
              <a:gd name="connsiteY13" fmla="*/ 4908800 h 5143500"/>
              <a:gd name="connsiteX14" fmla="*/ 8309514 w 9144000"/>
              <a:gd name="connsiteY14" fmla="*/ 4908682 h 5143500"/>
              <a:gd name="connsiteX15" fmla="*/ 8656176 w 9144000"/>
              <a:gd name="connsiteY15" fmla="*/ 4889642 h 5143500"/>
              <a:gd name="connsiteX16" fmla="*/ 8656176 w 9144000"/>
              <a:gd name="connsiteY16" fmla="*/ 5003422 h 5143500"/>
              <a:gd name="connsiteX17" fmla="*/ 8691036 w 9144000"/>
              <a:gd name="connsiteY17" fmla="*/ 5003422 h 5143500"/>
              <a:gd name="connsiteX18" fmla="*/ 8691036 w 9144000"/>
              <a:gd name="connsiteY18" fmla="*/ 4889642 h 5143500"/>
              <a:gd name="connsiteX19" fmla="*/ 8575476 w 9144000"/>
              <a:gd name="connsiteY19" fmla="*/ 4889642 h 5143500"/>
              <a:gd name="connsiteX20" fmla="*/ 8575476 w 9144000"/>
              <a:gd name="connsiteY20" fmla="*/ 5003422 h 5143500"/>
              <a:gd name="connsiteX21" fmla="*/ 8638503 w 9144000"/>
              <a:gd name="connsiteY21" fmla="*/ 5003422 h 5143500"/>
              <a:gd name="connsiteX22" fmla="*/ 8643759 w 9144000"/>
              <a:gd name="connsiteY22" fmla="*/ 4980570 h 5143500"/>
              <a:gd name="connsiteX23" fmla="*/ 8610337 w 9144000"/>
              <a:gd name="connsiteY23" fmla="*/ 4980570 h 5143500"/>
              <a:gd name="connsiteX24" fmla="*/ 8610337 w 9144000"/>
              <a:gd name="connsiteY24" fmla="*/ 4889642 h 5143500"/>
              <a:gd name="connsiteX25" fmla="*/ 8514839 w 9144000"/>
              <a:gd name="connsiteY25" fmla="*/ 4889642 h 5143500"/>
              <a:gd name="connsiteX26" fmla="*/ 8514839 w 9144000"/>
              <a:gd name="connsiteY26" fmla="*/ 5003422 h 5143500"/>
              <a:gd name="connsiteX27" fmla="*/ 8549700 w 9144000"/>
              <a:gd name="connsiteY27" fmla="*/ 5003422 h 5143500"/>
              <a:gd name="connsiteX28" fmla="*/ 8549700 w 9144000"/>
              <a:gd name="connsiteY28" fmla="*/ 4889642 h 5143500"/>
              <a:gd name="connsiteX29" fmla="*/ 8383044 w 9144000"/>
              <a:gd name="connsiteY29" fmla="*/ 4889642 h 5143500"/>
              <a:gd name="connsiteX30" fmla="*/ 8383044 w 9144000"/>
              <a:gd name="connsiteY30" fmla="*/ 5003422 h 5143500"/>
              <a:gd name="connsiteX31" fmla="*/ 8417905 w 9144000"/>
              <a:gd name="connsiteY31" fmla="*/ 5003422 h 5143500"/>
              <a:gd name="connsiteX32" fmla="*/ 8417905 w 9144000"/>
              <a:gd name="connsiteY32" fmla="*/ 4958675 h 5143500"/>
              <a:gd name="connsiteX33" fmla="*/ 8454193 w 9144000"/>
              <a:gd name="connsiteY33" fmla="*/ 4958675 h 5143500"/>
              <a:gd name="connsiteX34" fmla="*/ 8454193 w 9144000"/>
              <a:gd name="connsiteY34" fmla="*/ 5003422 h 5143500"/>
              <a:gd name="connsiteX35" fmla="*/ 8489054 w 9144000"/>
              <a:gd name="connsiteY35" fmla="*/ 5003422 h 5143500"/>
              <a:gd name="connsiteX36" fmla="*/ 8489054 w 9144000"/>
              <a:gd name="connsiteY36" fmla="*/ 4889642 h 5143500"/>
              <a:gd name="connsiteX37" fmla="*/ 8454193 w 9144000"/>
              <a:gd name="connsiteY37" fmla="*/ 4889642 h 5143500"/>
              <a:gd name="connsiteX38" fmla="*/ 8454193 w 9144000"/>
              <a:gd name="connsiteY38" fmla="*/ 4934873 h 5143500"/>
              <a:gd name="connsiteX39" fmla="*/ 8417905 w 9144000"/>
              <a:gd name="connsiteY39" fmla="*/ 4934873 h 5143500"/>
              <a:gd name="connsiteX40" fmla="*/ 8417905 w 9144000"/>
              <a:gd name="connsiteY40" fmla="*/ 4889642 h 5143500"/>
              <a:gd name="connsiteX41" fmla="*/ 8759786 w 9144000"/>
              <a:gd name="connsiteY41" fmla="*/ 4887261 h 5143500"/>
              <a:gd name="connsiteX42" fmla="*/ 8717289 w 9144000"/>
              <a:gd name="connsiteY42" fmla="*/ 4889642 h 5143500"/>
              <a:gd name="connsiteX43" fmla="*/ 8717289 w 9144000"/>
              <a:gd name="connsiteY43" fmla="*/ 5003422 h 5143500"/>
              <a:gd name="connsiteX44" fmla="*/ 8752150 w 9144000"/>
              <a:gd name="connsiteY44" fmla="*/ 5003422 h 5143500"/>
              <a:gd name="connsiteX45" fmla="*/ 8752150 w 9144000"/>
              <a:gd name="connsiteY45" fmla="*/ 4976282 h 5143500"/>
              <a:gd name="connsiteX46" fmla="*/ 8764566 w 9144000"/>
              <a:gd name="connsiteY46" fmla="*/ 4976282 h 5143500"/>
              <a:gd name="connsiteX47" fmla="*/ 8764566 w 9144000"/>
              <a:gd name="connsiteY47" fmla="*/ 4976291 h 5143500"/>
              <a:gd name="connsiteX48" fmla="*/ 8817567 w 9144000"/>
              <a:gd name="connsiteY48" fmla="*/ 4930586 h 5143500"/>
              <a:gd name="connsiteX49" fmla="*/ 8759786 w 9144000"/>
              <a:gd name="connsiteY49" fmla="*/ 4887261 h 5143500"/>
              <a:gd name="connsiteX50" fmla="*/ 8311428 w 9144000"/>
              <a:gd name="connsiteY50" fmla="*/ 4887261 h 5143500"/>
              <a:gd name="connsiteX51" fmla="*/ 8268931 w 9144000"/>
              <a:gd name="connsiteY51" fmla="*/ 4889642 h 5143500"/>
              <a:gd name="connsiteX52" fmla="*/ 8268931 w 9144000"/>
              <a:gd name="connsiteY52" fmla="*/ 5003422 h 5143500"/>
              <a:gd name="connsiteX53" fmla="*/ 8303791 w 9144000"/>
              <a:gd name="connsiteY53" fmla="*/ 5003422 h 5143500"/>
              <a:gd name="connsiteX54" fmla="*/ 8303791 w 9144000"/>
              <a:gd name="connsiteY54" fmla="*/ 4976282 h 5143500"/>
              <a:gd name="connsiteX55" fmla="*/ 8316208 w 9144000"/>
              <a:gd name="connsiteY55" fmla="*/ 4976282 h 5143500"/>
              <a:gd name="connsiteX56" fmla="*/ 8316199 w 9144000"/>
              <a:gd name="connsiteY56" fmla="*/ 4976291 h 5143500"/>
              <a:gd name="connsiteX57" fmla="*/ 8369199 w 9144000"/>
              <a:gd name="connsiteY57" fmla="*/ 4930586 h 5143500"/>
              <a:gd name="connsiteX58" fmla="*/ 8311428 w 9144000"/>
              <a:gd name="connsiteY58" fmla="*/ 4887261 h 5143500"/>
              <a:gd name="connsiteX59" fmla="*/ 8875337 w 9144000"/>
              <a:gd name="connsiteY59" fmla="*/ 4887252 h 5143500"/>
              <a:gd name="connsiteX60" fmla="*/ 8828069 w 9144000"/>
              <a:gd name="connsiteY60" fmla="*/ 4921527 h 5143500"/>
              <a:gd name="connsiteX61" fmla="*/ 8882507 w 9144000"/>
              <a:gd name="connsiteY61" fmla="*/ 4971994 h 5143500"/>
              <a:gd name="connsiteX62" fmla="*/ 8864367 w 9144000"/>
              <a:gd name="connsiteY62" fmla="*/ 4982942 h 5143500"/>
              <a:gd name="connsiteX63" fmla="*/ 8824736 w 9144000"/>
              <a:gd name="connsiteY63" fmla="*/ 4973892 h 5143500"/>
              <a:gd name="connsiteX64" fmla="*/ 8828555 w 9144000"/>
              <a:gd name="connsiteY64" fmla="*/ 5000074 h 5143500"/>
              <a:gd name="connsiteX65" fmla="*/ 8864844 w 9144000"/>
              <a:gd name="connsiteY65" fmla="*/ 5005785 h 5143500"/>
              <a:gd name="connsiteX66" fmla="*/ 8917844 w 9144000"/>
              <a:gd name="connsiteY66" fmla="*/ 4967697 h 5143500"/>
              <a:gd name="connsiteX67" fmla="*/ 8871510 w 9144000"/>
              <a:gd name="connsiteY67" fmla="*/ 4928600 h 5143500"/>
              <a:gd name="connsiteX68" fmla="*/ 8862940 w 9144000"/>
              <a:gd name="connsiteY68" fmla="*/ 4918674 h 5143500"/>
              <a:gd name="connsiteX69" fmla="*/ 8879165 w 9144000"/>
              <a:gd name="connsiteY69" fmla="*/ 4909630 h 5143500"/>
              <a:gd name="connsiteX70" fmla="*/ 8910198 w 9144000"/>
              <a:gd name="connsiteY70" fmla="*/ 4915341 h 5143500"/>
              <a:gd name="connsiteX71" fmla="*/ 8907332 w 9144000"/>
              <a:gd name="connsiteY71" fmla="*/ 4890582 h 5143500"/>
              <a:gd name="connsiteX72" fmla="*/ 8875337 w 9144000"/>
              <a:gd name="connsiteY72" fmla="*/ 4887252 h 5143500"/>
              <a:gd name="connsiteX73" fmla="*/ 0 w 9144000"/>
              <a:gd name="connsiteY73" fmla="*/ 0 h 5143500"/>
              <a:gd name="connsiteX74" fmla="*/ 9144000 w 9144000"/>
              <a:gd name="connsiteY74" fmla="*/ 0 h 5143500"/>
              <a:gd name="connsiteX75" fmla="*/ 9144000 w 9144000"/>
              <a:gd name="connsiteY75" fmla="*/ 5143500 h 5143500"/>
              <a:gd name="connsiteX76" fmla="*/ 0 w 9144000"/>
              <a:gd name="connsiteY7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144000" h="5143500">
                <a:moveTo>
                  <a:pt x="8862930" y="4918662"/>
                </a:moveTo>
                <a:lnTo>
                  <a:pt x="8862940" y="4918674"/>
                </a:lnTo>
                <a:lnTo>
                  <a:pt x="8862930" y="4918680"/>
                </a:lnTo>
                <a:close/>
                <a:moveTo>
                  <a:pt x="8757882" y="4908682"/>
                </a:moveTo>
                <a:cubicBezTo>
                  <a:pt x="8775069" y="4908682"/>
                  <a:pt x="8783191" y="4916774"/>
                  <a:pt x="8783191" y="4931060"/>
                </a:cubicBezTo>
                <a:cubicBezTo>
                  <a:pt x="8783191" y="4945821"/>
                  <a:pt x="8776031" y="4955819"/>
                  <a:pt x="8757882" y="4955819"/>
                </a:cubicBezTo>
                <a:lnTo>
                  <a:pt x="8752150" y="4955819"/>
                </a:lnTo>
                <a:lnTo>
                  <a:pt x="8752150" y="4908800"/>
                </a:lnTo>
                <a:cubicBezTo>
                  <a:pt x="8754173" y="4908682"/>
                  <a:pt x="8756087" y="4908682"/>
                  <a:pt x="8757882" y="4908682"/>
                </a:cubicBezTo>
                <a:close/>
                <a:moveTo>
                  <a:pt x="8309514" y="4908682"/>
                </a:moveTo>
                <a:cubicBezTo>
                  <a:pt x="8326702" y="4908682"/>
                  <a:pt x="8334824" y="4916774"/>
                  <a:pt x="8334824" y="4931060"/>
                </a:cubicBezTo>
                <a:cubicBezTo>
                  <a:pt x="8334824" y="4945821"/>
                  <a:pt x="8327663" y="4955819"/>
                  <a:pt x="8309514" y="4955819"/>
                </a:cubicBezTo>
                <a:lnTo>
                  <a:pt x="8303782" y="4955819"/>
                </a:lnTo>
                <a:lnTo>
                  <a:pt x="8303782" y="4908800"/>
                </a:lnTo>
                <a:cubicBezTo>
                  <a:pt x="8305815" y="4908682"/>
                  <a:pt x="8307720" y="4908682"/>
                  <a:pt x="8309514" y="4908682"/>
                </a:cubicBezTo>
                <a:close/>
                <a:moveTo>
                  <a:pt x="8656176" y="4889642"/>
                </a:moveTo>
                <a:lnTo>
                  <a:pt x="8656176" y="5003422"/>
                </a:lnTo>
                <a:lnTo>
                  <a:pt x="8691036" y="5003422"/>
                </a:lnTo>
                <a:lnTo>
                  <a:pt x="8691036" y="4889642"/>
                </a:lnTo>
                <a:close/>
                <a:moveTo>
                  <a:pt x="8575476" y="4889642"/>
                </a:moveTo>
                <a:lnTo>
                  <a:pt x="8575476" y="5003422"/>
                </a:lnTo>
                <a:lnTo>
                  <a:pt x="8638503" y="5003422"/>
                </a:lnTo>
                <a:lnTo>
                  <a:pt x="8643759" y="4980570"/>
                </a:lnTo>
                <a:lnTo>
                  <a:pt x="8610337" y="4980570"/>
                </a:lnTo>
                <a:lnTo>
                  <a:pt x="8610337" y="4889642"/>
                </a:lnTo>
                <a:close/>
                <a:moveTo>
                  <a:pt x="8514839" y="4889642"/>
                </a:moveTo>
                <a:lnTo>
                  <a:pt x="8514839" y="5003422"/>
                </a:lnTo>
                <a:lnTo>
                  <a:pt x="8549700" y="5003422"/>
                </a:lnTo>
                <a:lnTo>
                  <a:pt x="8549700" y="4889642"/>
                </a:lnTo>
                <a:close/>
                <a:moveTo>
                  <a:pt x="8383044" y="4889642"/>
                </a:moveTo>
                <a:lnTo>
                  <a:pt x="8383044" y="5003422"/>
                </a:lnTo>
                <a:lnTo>
                  <a:pt x="8417905" y="5003422"/>
                </a:lnTo>
                <a:lnTo>
                  <a:pt x="8417905" y="4958675"/>
                </a:lnTo>
                <a:lnTo>
                  <a:pt x="8454193" y="4958675"/>
                </a:lnTo>
                <a:lnTo>
                  <a:pt x="8454193" y="5003422"/>
                </a:lnTo>
                <a:lnTo>
                  <a:pt x="8489054" y="5003422"/>
                </a:lnTo>
                <a:lnTo>
                  <a:pt x="8489054" y="4889642"/>
                </a:lnTo>
                <a:lnTo>
                  <a:pt x="8454193" y="4889642"/>
                </a:lnTo>
                <a:lnTo>
                  <a:pt x="8454193" y="4934873"/>
                </a:lnTo>
                <a:lnTo>
                  <a:pt x="8417905" y="4934873"/>
                </a:lnTo>
                <a:lnTo>
                  <a:pt x="8417905" y="4889642"/>
                </a:lnTo>
                <a:close/>
                <a:moveTo>
                  <a:pt x="8759786" y="4887261"/>
                </a:moveTo>
                <a:cubicBezTo>
                  <a:pt x="8745941" y="4887261"/>
                  <a:pt x="8729230" y="4888210"/>
                  <a:pt x="8717289" y="4889642"/>
                </a:cubicBezTo>
                <a:lnTo>
                  <a:pt x="8717289" y="5003422"/>
                </a:lnTo>
                <a:lnTo>
                  <a:pt x="8752150" y="5003422"/>
                </a:lnTo>
                <a:lnTo>
                  <a:pt x="8752150" y="4976282"/>
                </a:lnTo>
                <a:lnTo>
                  <a:pt x="8764566" y="4976282"/>
                </a:lnTo>
                <a:lnTo>
                  <a:pt x="8764566" y="4976291"/>
                </a:lnTo>
                <a:cubicBezTo>
                  <a:pt x="8797037" y="4976291"/>
                  <a:pt x="8817567" y="4959633"/>
                  <a:pt x="8817567" y="4930586"/>
                </a:cubicBezTo>
                <a:cubicBezTo>
                  <a:pt x="8817567" y="4898692"/>
                  <a:pt x="8795599" y="4887261"/>
                  <a:pt x="8759786" y="4887261"/>
                </a:cubicBezTo>
                <a:close/>
                <a:moveTo>
                  <a:pt x="8311428" y="4887261"/>
                </a:moveTo>
                <a:cubicBezTo>
                  <a:pt x="8297583" y="4887261"/>
                  <a:pt x="8280872" y="4888210"/>
                  <a:pt x="8268931" y="4889642"/>
                </a:cubicBezTo>
                <a:lnTo>
                  <a:pt x="8268931" y="5003422"/>
                </a:lnTo>
                <a:lnTo>
                  <a:pt x="8303791" y="5003422"/>
                </a:lnTo>
                <a:lnTo>
                  <a:pt x="8303791" y="4976282"/>
                </a:lnTo>
                <a:lnTo>
                  <a:pt x="8316208" y="4976282"/>
                </a:lnTo>
                <a:lnTo>
                  <a:pt x="8316199" y="4976291"/>
                </a:lnTo>
                <a:cubicBezTo>
                  <a:pt x="8348669" y="4976291"/>
                  <a:pt x="8369199" y="4959633"/>
                  <a:pt x="8369199" y="4930586"/>
                </a:cubicBezTo>
                <a:cubicBezTo>
                  <a:pt x="8369208" y="4898683"/>
                  <a:pt x="8347241" y="4887261"/>
                  <a:pt x="8311428" y="4887261"/>
                </a:cubicBezTo>
                <a:close/>
                <a:moveTo>
                  <a:pt x="8875337" y="4887252"/>
                </a:moveTo>
                <a:cubicBezTo>
                  <a:pt x="8847162" y="4887252"/>
                  <a:pt x="8828069" y="4898318"/>
                  <a:pt x="8828069" y="4921527"/>
                </a:cubicBezTo>
                <a:cubicBezTo>
                  <a:pt x="8828069" y="4961521"/>
                  <a:pt x="8882507" y="4953429"/>
                  <a:pt x="8882507" y="4971994"/>
                </a:cubicBezTo>
                <a:cubicBezTo>
                  <a:pt x="8882507" y="4979137"/>
                  <a:pt x="8877251" y="4982942"/>
                  <a:pt x="8864367" y="4982942"/>
                </a:cubicBezTo>
                <a:cubicBezTo>
                  <a:pt x="8852903" y="4982942"/>
                  <a:pt x="8835239" y="4979137"/>
                  <a:pt x="8824736" y="4973892"/>
                </a:cubicBezTo>
                <a:lnTo>
                  <a:pt x="8828555" y="5000074"/>
                </a:lnTo>
                <a:cubicBezTo>
                  <a:pt x="8839058" y="5003888"/>
                  <a:pt x="8853388" y="5005785"/>
                  <a:pt x="8864844" y="5005785"/>
                </a:cubicBezTo>
                <a:cubicBezTo>
                  <a:pt x="8893972" y="5005785"/>
                  <a:pt x="8917844" y="4996261"/>
                  <a:pt x="8917844" y="4967697"/>
                </a:cubicBezTo>
                <a:cubicBezTo>
                  <a:pt x="8917844" y="4939131"/>
                  <a:pt x="8886955" y="4936008"/>
                  <a:pt x="8871510" y="4928600"/>
                </a:cubicBezTo>
                <a:lnTo>
                  <a:pt x="8862940" y="4918674"/>
                </a:lnTo>
                <a:lnTo>
                  <a:pt x="8879165" y="4909630"/>
                </a:lnTo>
                <a:cubicBezTo>
                  <a:pt x="8890144" y="4909630"/>
                  <a:pt x="8902085" y="4912011"/>
                  <a:pt x="8910198" y="4915341"/>
                </a:cubicBezTo>
                <a:lnTo>
                  <a:pt x="8907332" y="4890582"/>
                </a:lnTo>
                <a:cubicBezTo>
                  <a:pt x="8898257" y="4888675"/>
                  <a:pt x="8890144" y="4887252"/>
                  <a:pt x="8875337" y="4887252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eed the white logo? Select “Hide Background Graphics” in the Format Shape pane.</a:t>
            </a:r>
          </a:p>
        </p:txBody>
      </p:sp>
      <p:sp>
        <p:nvSpPr>
          <p:cNvPr id="3" name="Footer Placeholder 11">
            <a:extLst>
              <a:ext uri="{FF2B5EF4-FFF2-40B4-BE49-F238E27FC236}">
                <a16:creationId xmlns:a16="http://schemas.microsoft.com/office/drawing/2014/main" id="{83C774FF-44C9-505B-D3A3-7BDAED31291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12">
            <a:extLst>
              <a:ext uri="{FF2B5EF4-FFF2-40B4-BE49-F238E27FC236}">
                <a16:creationId xmlns:a16="http://schemas.microsoft.com/office/drawing/2014/main" id="{8E634DF2-19D4-5701-B6C3-6993A4076E5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69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ight blue (vertical logo)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A8230AB-B9C3-ABB7-8E09-DB40160F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337A30B-E80E-D3BE-EC18-C70BD71A60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9404725-0715-5DAD-58B4-34C44B0565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DEFDCC6-A291-B654-EC74-B2F7A352C2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63D59C3-AC2B-8821-72FE-690F065F5B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4F4C1511-F04E-7339-FC99-C7CDCAF0384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434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C5DC1B-90D1-16A7-427B-3D24F944CA79}"/>
              </a:ext>
            </a:extLst>
          </p:cNvPr>
          <p:cNvSpPr txBox="1"/>
          <p:nvPr userDrawn="1"/>
        </p:nvSpPr>
        <p:spPr>
          <a:xfrm>
            <a:off x="2028322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chemeClr val="bg1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0222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636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B3D22CC-58D4-6B7C-7DAB-99EF135F187D}"/>
              </a:ext>
            </a:extLst>
          </p:cNvPr>
          <p:cNvSpPr txBox="1"/>
          <p:nvPr userDrawn="1"/>
        </p:nvSpPr>
        <p:spPr>
          <a:xfrm>
            <a:off x="2028323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rgbClr val="0B5ED7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2185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1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83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US" noProof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73254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solidFill>
          <a:srgbClr val="0B5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BA6EBA-0B6D-29E9-8810-D683D76E52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1FFB978-6F2E-5049-5D74-33430B16B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56F195D-D283-0223-500A-2A7F2FFBD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E790E38-98FA-70A9-4EE5-722204681B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14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3D7AC3-F347-3071-2181-D9C053A942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675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1A35D731-0B11-06EA-0894-958EC48E122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94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7312E4E-DC5C-89CF-7901-9D7696F5D2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2FCA5D-44C5-0E96-A4ED-D15CBC06B9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A46E337-3DA0-B0D4-133A-AB8C2FAAE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436B09D-E480-1E38-A7DC-3421B3A1D2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00"/>
            <a:ext cx="605028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F22C47-0608-FFD6-A0EF-7FC8A208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316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2ACDB9F0-E4A4-8202-89B5-AB6BCF94BD5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916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8104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A21B94C-7C28-C49E-8A73-7BB8D32C62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E367FA-0013-3CCF-0C7D-DDEC90BC5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324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23AE83-3E3B-92E1-FB70-9FBDAA6BCC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5304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471E571-6560-C923-2D4C-1DA9F62DE1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D577A7-4438-51B9-1408-E3E654B19A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18FC48-F21F-8519-D2D8-2885B0BD65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7BE3BDF-77FD-FD36-ABA6-BBC1A344EE4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1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20791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06FA6940-81B4-5F30-47C8-908F58E0B43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C9B2CB8-AACA-A98F-4406-A49710FED3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318B85E-CB3F-F750-5606-E0E20DA5ED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DEE87C9-58F0-1BD5-F424-DF9A5B09F0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0305E62-8667-FC12-E707-F92FB39642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2B8A9A7-64E0-C36E-31F7-BE506AC64A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6" name="Picture 15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A9543EE3-B6C8-50A7-7410-B4C6D0EE329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70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light blue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E12D76E-01D3-07B0-1D56-2358A148957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B24236-CADB-7354-060A-BE0EB2014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909AA42-874F-29D2-A2E8-5F92C25F8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6E9C10D-3E78-9EB7-56B2-E9F1089398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48CCF44-10C0-C55C-9440-4D098E5BE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8224E75-DFDC-5E03-C79D-82F76B43E9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B9D51D7F-AFCE-8C5D-DC4D-4792772F499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5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dark blue">
    <p:bg>
      <p:bgPr>
        <a:solidFill>
          <a:srgbClr val="0012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48203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683DEB3E-7F85-179F-44C9-A5EF66E3060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5C7F54A-F913-36F3-2F31-734BCB4E15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9C8156-A911-51E4-C6BC-A3CEFA732A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4D7B7A-CA4A-233C-C20B-00C100B445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E874D61-3A86-BE22-8DE1-7D0B805C6F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11EBC91-9963-A82F-09DB-9FD3761D75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2" name="Picture 1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3B491AB6-7AFB-564D-92F4-42298A0191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57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9227EF0-9C60-2003-D6BA-C8BAF06217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4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9" y="376241"/>
            <a:ext cx="8132765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Type your slide headline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6902C94-33CD-D1CE-02FF-FB1D35E386C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098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2" r:id="rId4"/>
    <p:sldLayoutId id="2147484073" r:id="rId5"/>
    <p:sldLayoutId id="2147484077" r:id="rId6"/>
    <p:sldLayoutId id="2147484078" r:id="rId7"/>
    <p:sldLayoutId id="2147484079" r:id="rId8"/>
    <p:sldLayoutId id="2147484080" r:id="rId9"/>
    <p:sldLayoutId id="2147484046" r:id="rId10"/>
    <p:sldLayoutId id="2147484047" r:id="rId11"/>
    <p:sldLayoutId id="2147484048" r:id="rId12"/>
    <p:sldLayoutId id="2147484050" r:id="rId13"/>
    <p:sldLayoutId id="2147484049" r:id="rId14"/>
    <p:sldLayoutId id="2147484051" r:id="rId15"/>
    <p:sldLayoutId id="2147484052" r:id="rId16"/>
    <p:sldLayoutId id="2147484053" r:id="rId17"/>
    <p:sldLayoutId id="2147484054" r:id="rId18"/>
    <p:sldLayoutId id="2147484055" r:id="rId19"/>
    <p:sldLayoutId id="2147484056" r:id="rId20"/>
    <p:sldLayoutId id="2147484057" r:id="rId21"/>
    <p:sldLayoutId id="2147484058" r:id="rId22"/>
    <p:sldLayoutId id="2147484032" r:id="rId23"/>
    <p:sldLayoutId id="2147484033" r:id="rId24"/>
    <p:sldLayoutId id="2147484034" r:id="rId25"/>
    <p:sldLayoutId id="2147484035" r:id="rId26"/>
    <p:sldLayoutId id="2147484036" r:id="rId27"/>
    <p:sldLayoutId id="2147484067" r:id="rId28"/>
    <p:sldLayoutId id="2147484068" r:id="rId29"/>
    <p:sldLayoutId id="2147484081" r:id="rId30"/>
    <p:sldLayoutId id="2147484069" r:id="rId31"/>
    <p:sldLayoutId id="2147484082" r:id="rId32"/>
    <p:sldLayoutId id="2147484070" r:id="rId33"/>
    <p:sldLayoutId id="2147484083" r:id="rId34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None/>
        <a:defRPr lang="en-US" sz="2400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6304" indent="-146304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1pPr>
      <a:lvl2pPr marL="2952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2pPr>
      <a:lvl3pPr marL="4428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3pPr>
      <a:lvl4pPr marL="5904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4pPr>
      <a:lvl5pPr marL="7380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IN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8856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lang="en-US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0332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1808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3284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 userDrawn="1">
          <p15:clr>
            <a:srgbClr val="A4A3A4"/>
          </p15:clr>
        </p15:guide>
        <p15:guide id="4" orient="horz" pos="228" userDrawn="1">
          <p15:clr>
            <a:srgbClr val="A4A3A4"/>
          </p15:clr>
        </p15:guide>
        <p15:guide id="7" orient="horz" pos="2964" userDrawn="1">
          <p15:clr>
            <a:srgbClr val="A4A3A4"/>
          </p15:clr>
        </p15:guide>
        <p15:guide id="15" orient="horz" pos="1620" userDrawn="1">
          <p15:clr>
            <a:srgbClr val="F26B43"/>
          </p15:clr>
        </p15:guide>
        <p15:guide id="16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6.png"/><Relationship Id="rId11" Type="http://schemas.openxmlformats.org/officeDocument/2006/relationships/image" Target="../media/image26.jpe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8.jpeg"/><Relationship Id="rId5" Type="http://schemas.openxmlformats.org/officeDocument/2006/relationships/image" Target="../media/image37.png"/><Relationship Id="rId4" Type="http://schemas.openxmlformats.org/officeDocument/2006/relationships/image" Target="../media/image3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BDD03E-C5E4-5B3B-E1A6-63B08082597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0FD810-861C-8EF2-52CF-99FFEAD5A5E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01262" y="1393704"/>
            <a:ext cx="3136959" cy="266315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 two-player game where success is limited by information flow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Shared randomness as a non-local resourc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erformance bounded by Shannon’s information theory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err="1"/>
              <a:t>Tsirelson’s</a:t>
            </a:r>
            <a:r>
              <a:rPr lang="en-US" dirty="0"/>
              <a:t> bound without von Neumann’s quantum framework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F7F283-C47B-3C2A-4CB4-512C49427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5253" y="376241"/>
            <a:ext cx="3136959" cy="719137"/>
          </a:xfrm>
        </p:spPr>
        <p:txBody>
          <a:bodyPr/>
          <a:lstStyle/>
          <a:p>
            <a:r>
              <a:rPr lang="en-US" dirty="0" err="1"/>
              <a:t>QSeaBattle</a:t>
            </a:r>
            <a:br>
              <a:rPr lang="en-US" dirty="0"/>
            </a:br>
            <a:r>
              <a:rPr lang="en-US" sz="1200" i="1" dirty="0"/>
              <a:t>How to benefit from (quantum) non-locality in an information game</a:t>
            </a:r>
            <a:endParaRPr lang="en-US" i="1" dirty="0"/>
          </a:p>
        </p:txBody>
      </p:sp>
      <p:pic>
        <p:nvPicPr>
          <p:cNvPr id="11" name="Picture 10" descr="A blue and white logo&#10;&#10;AI-generated content may be incorrect.">
            <a:extLst>
              <a:ext uri="{FF2B5EF4-FFF2-40B4-BE49-F238E27FC236}">
                <a16:creationId xmlns:a16="http://schemas.microsoft.com/office/drawing/2014/main" id="{978E574F-6690-DCDE-6622-4BF19EBDD1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5143500" cy="5143500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58AC6B1-E1B8-4377-1968-5ABEBF439D6E}"/>
              </a:ext>
            </a:extLst>
          </p:cNvPr>
          <p:cNvSpPr txBox="1">
            <a:spLocks/>
          </p:cNvSpPr>
          <p:nvPr/>
        </p:nvSpPr>
        <p:spPr>
          <a:xfrm>
            <a:off x="5653662" y="4355184"/>
            <a:ext cx="3136959" cy="256094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341943A-5D35-4B9C-6AD7-1005BEFD6339}"/>
              </a:ext>
            </a:extLst>
          </p:cNvPr>
          <p:cNvSpPr txBox="1">
            <a:spLocks/>
          </p:cNvSpPr>
          <p:nvPr/>
        </p:nvSpPr>
        <p:spPr>
          <a:xfrm>
            <a:off x="5501262" y="4639212"/>
            <a:ext cx="3136959" cy="256094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/>
              <a:t>Rob Hendriks, January 2026</a:t>
            </a:r>
            <a:endParaRPr lang="en-US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5841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4304AF-942A-6B50-7E72-DE0A319995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6634" y="262919"/>
            <a:ext cx="3955642" cy="3484800"/>
          </a:xfrm>
        </p:spPr>
        <p:txBody>
          <a:bodyPr/>
          <a:lstStyle/>
          <a:p>
            <a:pPr marL="0" indent="0">
              <a:buNone/>
            </a:pPr>
            <a:r>
              <a:rPr lang="nl-NL" sz="1600" b="1" dirty="0" err="1"/>
              <a:t>References</a:t>
            </a:r>
            <a:endParaRPr lang="nl-NL" sz="1600" b="1" dirty="0"/>
          </a:p>
          <a:p>
            <a:pPr marL="0" indent="0">
              <a:buNone/>
            </a:pPr>
            <a:r>
              <a:rPr lang="nl-NL" sz="1100" b="1" dirty="0"/>
              <a:t>W. van Dam</a:t>
            </a:r>
            <a:br>
              <a:rPr lang="nl-NL" sz="1100" dirty="0"/>
            </a:br>
            <a:r>
              <a:rPr lang="nl-NL" sz="1100" i="1" dirty="0" err="1"/>
              <a:t>Implausible</a:t>
            </a:r>
            <a:r>
              <a:rPr lang="nl-NL" sz="1100" i="1" dirty="0"/>
              <a:t> </a:t>
            </a:r>
            <a:r>
              <a:rPr lang="nl-NL" sz="1100" i="1" dirty="0" err="1"/>
              <a:t>consequences</a:t>
            </a:r>
            <a:r>
              <a:rPr lang="nl-NL" sz="1100" i="1" dirty="0"/>
              <a:t> of </a:t>
            </a:r>
            <a:r>
              <a:rPr lang="nl-NL" sz="1100" i="1" dirty="0" err="1"/>
              <a:t>superstrong</a:t>
            </a:r>
            <a:r>
              <a:rPr lang="nl-NL" sz="1100" i="1" dirty="0"/>
              <a:t> </a:t>
            </a:r>
            <a:r>
              <a:rPr lang="nl-NL" sz="1100" i="1" dirty="0" err="1"/>
              <a:t>nonlocality</a:t>
            </a:r>
            <a:br>
              <a:rPr lang="nl-NL" sz="1100" dirty="0"/>
            </a:br>
            <a:r>
              <a:rPr lang="nl-NL" sz="1100" dirty="0"/>
              <a:t>Natural Computing </a:t>
            </a:r>
            <a:r>
              <a:rPr lang="nl-NL" sz="1100" b="1" dirty="0"/>
              <a:t>12</a:t>
            </a:r>
            <a:r>
              <a:rPr lang="nl-NL" sz="1100" dirty="0"/>
              <a:t>, 9–12 (2013)</a:t>
            </a:r>
            <a:br>
              <a:rPr lang="nl-NL" sz="1100" dirty="0"/>
            </a:br>
            <a:r>
              <a:rPr lang="nl-NL" sz="1100" i="1" dirty="0"/>
              <a:t>(</a:t>
            </a:r>
            <a:r>
              <a:rPr lang="nl-NL" sz="1100" i="1" dirty="0" err="1"/>
              <a:t>original</a:t>
            </a:r>
            <a:r>
              <a:rPr lang="nl-NL" sz="1100" i="1" dirty="0"/>
              <a:t> </a:t>
            </a:r>
            <a:r>
              <a:rPr lang="nl-NL" sz="1100" i="1" dirty="0" err="1"/>
              <a:t>result</a:t>
            </a:r>
            <a:r>
              <a:rPr lang="nl-NL" sz="1100" i="1" dirty="0"/>
              <a:t>: </a:t>
            </a:r>
            <a:r>
              <a:rPr lang="nl-NL" sz="1100" i="1" dirty="0" err="1"/>
              <a:t>communication</a:t>
            </a:r>
            <a:r>
              <a:rPr lang="nl-NL" sz="1100" i="1" dirty="0"/>
              <a:t> </a:t>
            </a:r>
            <a:r>
              <a:rPr lang="nl-NL" sz="1100" i="1" dirty="0" err="1"/>
              <a:t>complexity</a:t>
            </a:r>
            <a:r>
              <a:rPr lang="nl-NL" sz="1100" i="1" dirty="0"/>
              <a:t> </a:t>
            </a:r>
            <a:r>
              <a:rPr lang="nl-NL" sz="1100" i="1" dirty="0" err="1"/>
              <a:t>collapse</a:t>
            </a:r>
            <a:r>
              <a:rPr lang="nl-NL" sz="1100" i="1" dirty="0"/>
              <a:t>)</a:t>
            </a:r>
            <a:endParaRPr lang="nl-NL" sz="1100" dirty="0"/>
          </a:p>
          <a:p>
            <a:pPr marL="0" indent="0">
              <a:buNone/>
            </a:pPr>
            <a:r>
              <a:rPr lang="nl-NL" sz="1100" b="1" dirty="0"/>
              <a:t>B. S. </a:t>
            </a:r>
            <a:r>
              <a:rPr lang="nl-NL" sz="1100" b="1" dirty="0" err="1"/>
              <a:t>Tsirelson</a:t>
            </a:r>
            <a:br>
              <a:rPr lang="nl-NL" sz="1100" dirty="0"/>
            </a:br>
            <a:r>
              <a:rPr lang="nl-NL" sz="1100" i="1" dirty="0"/>
              <a:t>Quantum </a:t>
            </a:r>
            <a:r>
              <a:rPr lang="nl-NL" sz="1100" i="1" dirty="0" err="1"/>
              <a:t>generalizations</a:t>
            </a:r>
            <a:r>
              <a:rPr lang="nl-NL" sz="1100" i="1" dirty="0"/>
              <a:t> of </a:t>
            </a:r>
            <a:r>
              <a:rPr lang="nl-NL" sz="1100" i="1" dirty="0" err="1"/>
              <a:t>Bell’s</a:t>
            </a:r>
            <a:r>
              <a:rPr lang="nl-NL" sz="1100" i="1" dirty="0"/>
              <a:t> </a:t>
            </a:r>
            <a:r>
              <a:rPr lang="nl-NL" sz="1100" i="1" dirty="0" err="1"/>
              <a:t>inequality</a:t>
            </a:r>
            <a:br>
              <a:rPr lang="nl-NL" sz="1100" dirty="0"/>
            </a:br>
            <a:r>
              <a:rPr lang="nl-NL" sz="1100" dirty="0"/>
              <a:t>Letters in Mathematical </a:t>
            </a:r>
            <a:r>
              <a:rPr lang="nl-NL" sz="1100" dirty="0" err="1"/>
              <a:t>Physics</a:t>
            </a:r>
            <a:r>
              <a:rPr lang="nl-NL" sz="1100" dirty="0"/>
              <a:t> </a:t>
            </a:r>
            <a:r>
              <a:rPr lang="nl-NL" sz="1100" b="1" dirty="0"/>
              <a:t>4</a:t>
            </a:r>
            <a:r>
              <a:rPr lang="nl-NL" sz="1100" dirty="0"/>
              <a:t>, 93–100 (1980)</a:t>
            </a:r>
            <a:br>
              <a:rPr lang="nl-NL" sz="1100" dirty="0"/>
            </a:br>
            <a:r>
              <a:rPr lang="nl-NL" sz="1100" i="1" dirty="0"/>
              <a:t>(</a:t>
            </a:r>
            <a:r>
              <a:rPr lang="nl-NL" sz="1100" i="1" dirty="0" err="1"/>
              <a:t>derivation</a:t>
            </a:r>
            <a:r>
              <a:rPr lang="nl-NL" sz="1100" i="1" dirty="0"/>
              <a:t> of </a:t>
            </a:r>
            <a:r>
              <a:rPr lang="nl-NL" sz="1100" i="1" dirty="0" err="1"/>
              <a:t>the</a:t>
            </a:r>
            <a:r>
              <a:rPr lang="nl-NL" sz="1100" i="1" dirty="0"/>
              <a:t> </a:t>
            </a:r>
            <a:r>
              <a:rPr lang="nl-NL" sz="1100" i="1" dirty="0" err="1"/>
              <a:t>Tsirelson</a:t>
            </a:r>
            <a:r>
              <a:rPr lang="nl-NL" sz="1100" i="1" dirty="0"/>
              <a:t> </a:t>
            </a:r>
            <a:r>
              <a:rPr lang="nl-NL" sz="1100" i="1" dirty="0" err="1"/>
              <a:t>bound</a:t>
            </a:r>
            <a:r>
              <a:rPr lang="nl-NL" sz="1100" i="1" dirty="0"/>
              <a:t>)</a:t>
            </a:r>
            <a:endParaRPr lang="nl-NL" sz="1100" dirty="0"/>
          </a:p>
          <a:p>
            <a:pPr marL="0" indent="0">
              <a:buNone/>
            </a:pPr>
            <a:r>
              <a:rPr lang="nl-NL" sz="1100" b="1" dirty="0"/>
              <a:t>M. </a:t>
            </a:r>
            <a:r>
              <a:rPr lang="nl-NL" sz="1100" b="1" dirty="0" err="1"/>
              <a:t>Pawłowski</a:t>
            </a:r>
            <a:r>
              <a:rPr lang="nl-NL" sz="1100" b="1" dirty="0"/>
              <a:t>, T. </a:t>
            </a:r>
            <a:r>
              <a:rPr lang="nl-NL" sz="1100" b="1" dirty="0" err="1"/>
              <a:t>Paterek</a:t>
            </a:r>
            <a:r>
              <a:rPr lang="nl-NL" sz="1100" b="1" dirty="0"/>
              <a:t>, D. </a:t>
            </a:r>
            <a:r>
              <a:rPr lang="nl-NL" sz="1100" b="1" dirty="0" err="1"/>
              <a:t>Kaszlikowski</a:t>
            </a:r>
            <a:r>
              <a:rPr lang="nl-NL" sz="1100" b="1" dirty="0"/>
              <a:t>, et al.</a:t>
            </a:r>
            <a:br>
              <a:rPr lang="nl-NL" sz="1100" dirty="0"/>
            </a:br>
            <a:r>
              <a:rPr lang="nl-NL" sz="1100" i="1" dirty="0"/>
              <a:t>Information </a:t>
            </a:r>
            <a:r>
              <a:rPr lang="nl-NL" sz="1100" i="1" dirty="0" err="1"/>
              <a:t>causality</a:t>
            </a:r>
            <a:r>
              <a:rPr lang="nl-NL" sz="1100" i="1" dirty="0"/>
              <a:t> as a </a:t>
            </a:r>
            <a:r>
              <a:rPr lang="nl-NL" sz="1100" i="1" dirty="0" err="1"/>
              <a:t>physical</a:t>
            </a:r>
            <a:r>
              <a:rPr lang="nl-NL" sz="1100" i="1" dirty="0"/>
              <a:t> </a:t>
            </a:r>
            <a:r>
              <a:rPr lang="nl-NL" sz="1100" i="1" dirty="0" err="1"/>
              <a:t>principle</a:t>
            </a:r>
            <a:br>
              <a:rPr lang="nl-NL" sz="1100" dirty="0"/>
            </a:br>
            <a:r>
              <a:rPr lang="nl-NL" sz="1100" dirty="0"/>
              <a:t>Nature </a:t>
            </a:r>
            <a:r>
              <a:rPr lang="nl-NL" sz="1100" b="1" dirty="0"/>
              <a:t>461</a:t>
            </a:r>
            <a:r>
              <a:rPr lang="nl-NL" sz="1100" dirty="0"/>
              <a:t>, 1101–1104 (2009)</a:t>
            </a:r>
            <a:br>
              <a:rPr lang="nl-NL" sz="1100" dirty="0"/>
            </a:br>
            <a:r>
              <a:rPr lang="nl-NL" sz="1100" i="1" dirty="0"/>
              <a:t>(information-</a:t>
            </a:r>
            <a:r>
              <a:rPr lang="nl-NL" sz="1100" i="1" dirty="0" err="1"/>
              <a:t>theoretic</a:t>
            </a:r>
            <a:r>
              <a:rPr lang="nl-NL" sz="1100" i="1" dirty="0"/>
              <a:t> </a:t>
            </a:r>
            <a:r>
              <a:rPr lang="nl-NL" sz="1100" i="1" dirty="0" err="1"/>
              <a:t>explanation</a:t>
            </a:r>
            <a:r>
              <a:rPr lang="nl-NL" sz="1100" i="1" dirty="0"/>
              <a:t> of </a:t>
            </a:r>
            <a:r>
              <a:rPr lang="nl-NL" sz="1100" i="1" dirty="0" err="1"/>
              <a:t>Tsirelson’s</a:t>
            </a:r>
            <a:r>
              <a:rPr lang="nl-NL" sz="1100" i="1" dirty="0"/>
              <a:t> </a:t>
            </a:r>
            <a:r>
              <a:rPr lang="nl-NL" sz="1100" i="1" dirty="0" err="1"/>
              <a:t>bound</a:t>
            </a:r>
            <a:r>
              <a:rPr lang="nl-NL" sz="1100" i="1" dirty="0"/>
              <a:t>)</a:t>
            </a:r>
            <a:endParaRPr lang="nl-NL" sz="1100" dirty="0"/>
          </a:p>
          <a:p>
            <a:pPr marL="0" indent="0">
              <a:buNone/>
            </a:pPr>
            <a:r>
              <a:rPr lang="nl-NL" sz="1100" b="1" dirty="0"/>
              <a:t>J. </a:t>
            </a:r>
            <a:r>
              <a:rPr lang="nl-NL" sz="1100" b="1" dirty="0" err="1"/>
              <a:t>Bub</a:t>
            </a:r>
            <a:br>
              <a:rPr lang="nl-NL" sz="1100" dirty="0"/>
            </a:br>
            <a:r>
              <a:rPr lang="nl-NL" sz="1100" i="1" dirty="0" err="1"/>
              <a:t>Bananaworld</a:t>
            </a:r>
            <a:r>
              <a:rPr lang="nl-NL" sz="1100" i="1" dirty="0"/>
              <a:t>: Quantum </a:t>
            </a:r>
            <a:r>
              <a:rPr lang="nl-NL" sz="1100" i="1" dirty="0" err="1"/>
              <a:t>Mechanics</a:t>
            </a:r>
            <a:r>
              <a:rPr lang="nl-NL" sz="1100" i="1" dirty="0"/>
              <a:t> </a:t>
            </a:r>
            <a:r>
              <a:rPr lang="nl-NL" sz="1100" i="1" dirty="0" err="1"/>
              <a:t>for</a:t>
            </a:r>
            <a:r>
              <a:rPr lang="nl-NL" sz="1100" i="1" dirty="0"/>
              <a:t> </a:t>
            </a:r>
            <a:r>
              <a:rPr lang="nl-NL" sz="1100" i="1" dirty="0" err="1"/>
              <a:t>Primates</a:t>
            </a:r>
            <a:br>
              <a:rPr lang="nl-NL" sz="1100" dirty="0"/>
            </a:br>
            <a:r>
              <a:rPr lang="nl-NL" sz="1100" dirty="0"/>
              <a:t>In: </a:t>
            </a:r>
            <a:r>
              <a:rPr lang="nl-NL" sz="1100" i="1" dirty="0" err="1"/>
              <a:t>Interpreting</a:t>
            </a:r>
            <a:r>
              <a:rPr lang="nl-NL" sz="1100" i="1" dirty="0"/>
              <a:t> Quantum </a:t>
            </a:r>
            <a:r>
              <a:rPr lang="nl-NL" sz="1100" i="1" dirty="0" err="1"/>
              <a:t>Mechanics</a:t>
            </a:r>
            <a:r>
              <a:rPr lang="nl-NL" sz="1100" dirty="0"/>
              <a:t>, Cambridge University Press (2016)</a:t>
            </a:r>
            <a:br>
              <a:rPr lang="nl-NL" sz="1100" dirty="0"/>
            </a:br>
            <a:r>
              <a:rPr lang="nl-NL" sz="1100" i="1" dirty="0"/>
              <a:t>(</a:t>
            </a:r>
            <a:r>
              <a:rPr lang="nl-NL" sz="1100" i="1" dirty="0" err="1"/>
              <a:t>conceptual</a:t>
            </a:r>
            <a:r>
              <a:rPr lang="nl-NL" sz="1100" i="1" dirty="0"/>
              <a:t> </a:t>
            </a:r>
            <a:r>
              <a:rPr lang="nl-NL" sz="1100" i="1" dirty="0" err="1"/>
              <a:t>explanation</a:t>
            </a:r>
            <a:r>
              <a:rPr lang="nl-NL" sz="1100" i="1" dirty="0"/>
              <a:t> of </a:t>
            </a:r>
            <a:r>
              <a:rPr lang="nl-NL" sz="1100" i="1" dirty="0" err="1"/>
              <a:t>nonlocal</a:t>
            </a:r>
            <a:r>
              <a:rPr lang="nl-NL" sz="1100" i="1" dirty="0"/>
              <a:t> </a:t>
            </a:r>
            <a:r>
              <a:rPr lang="nl-NL" sz="1100" i="1" dirty="0" err="1"/>
              <a:t>correlations</a:t>
            </a:r>
            <a:r>
              <a:rPr lang="nl-NL" sz="1100" i="1" dirty="0"/>
              <a:t>)</a:t>
            </a:r>
          </a:p>
          <a:p>
            <a:pPr marL="0" indent="0">
              <a:buNone/>
            </a:pPr>
            <a:r>
              <a:rPr lang="nl-NL" sz="1100" b="1" dirty="0"/>
              <a:t>J. </a:t>
            </a:r>
            <a:r>
              <a:rPr lang="nl-NL" sz="1100" b="1" dirty="0" err="1"/>
              <a:t>Foerster</a:t>
            </a:r>
            <a:r>
              <a:rPr lang="nl-NL" sz="1100" b="1" dirty="0"/>
              <a:t>, Y. M. </a:t>
            </a:r>
            <a:r>
              <a:rPr lang="nl-NL" sz="1100" b="1" dirty="0" err="1"/>
              <a:t>Assael</a:t>
            </a:r>
            <a:r>
              <a:rPr lang="nl-NL" sz="1100" b="1" dirty="0"/>
              <a:t>, N. de </a:t>
            </a:r>
            <a:r>
              <a:rPr lang="nl-NL" sz="1100" b="1" dirty="0" err="1"/>
              <a:t>Freitas</a:t>
            </a:r>
            <a:r>
              <a:rPr lang="nl-NL" sz="1100" b="1" dirty="0"/>
              <a:t>, S. </a:t>
            </a:r>
            <a:r>
              <a:rPr lang="nl-NL" sz="1100" b="1" dirty="0" err="1"/>
              <a:t>Whiteson</a:t>
            </a:r>
            <a:br>
              <a:rPr lang="nl-NL" sz="1100" dirty="0"/>
            </a:br>
            <a:r>
              <a:rPr lang="nl-NL" sz="1100" i="1" dirty="0"/>
              <a:t>Learning </a:t>
            </a:r>
            <a:r>
              <a:rPr lang="nl-NL" sz="1100" i="1" dirty="0" err="1"/>
              <a:t>to</a:t>
            </a:r>
            <a:r>
              <a:rPr lang="nl-NL" sz="1100" i="1" dirty="0"/>
              <a:t> </a:t>
            </a:r>
            <a:r>
              <a:rPr lang="nl-NL" sz="1100" i="1" dirty="0" err="1"/>
              <a:t>Communicate</a:t>
            </a:r>
            <a:r>
              <a:rPr lang="nl-NL" sz="1100" i="1" dirty="0"/>
              <a:t> </a:t>
            </a:r>
            <a:r>
              <a:rPr lang="nl-NL" sz="1100" i="1" dirty="0" err="1"/>
              <a:t>with</a:t>
            </a:r>
            <a:r>
              <a:rPr lang="nl-NL" sz="1100" i="1" dirty="0"/>
              <a:t> </a:t>
            </a:r>
            <a:r>
              <a:rPr lang="nl-NL" sz="1100" i="1" dirty="0" err="1"/>
              <a:t>Deep</a:t>
            </a:r>
            <a:r>
              <a:rPr lang="nl-NL" sz="1100" i="1" dirty="0"/>
              <a:t> Multi-Agent </a:t>
            </a:r>
            <a:r>
              <a:rPr lang="nl-NL" sz="1100" i="1" dirty="0" err="1"/>
              <a:t>Reinforcement</a:t>
            </a:r>
            <a:r>
              <a:rPr lang="nl-NL" sz="1100" i="1" dirty="0"/>
              <a:t> Learning</a:t>
            </a:r>
            <a:br>
              <a:rPr lang="nl-NL" sz="1100" dirty="0"/>
            </a:br>
            <a:r>
              <a:rPr lang="nl-NL" sz="1100" dirty="0"/>
              <a:t>Advances in </a:t>
            </a:r>
            <a:r>
              <a:rPr lang="nl-NL" sz="1100" dirty="0" err="1"/>
              <a:t>Neural</a:t>
            </a:r>
            <a:r>
              <a:rPr lang="nl-NL" sz="1100" dirty="0"/>
              <a:t> Information Processing Systems (</a:t>
            </a:r>
            <a:r>
              <a:rPr lang="nl-NL" sz="1100" b="1" dirty="0" err="1"/>
              <a:t>NeurIPS</a:t>
            </a:r>
            <a:r>
              <a:rPr lang="nl-NL" sz="1100" dirty="0"/>
              <a:t>) 2016</a:t>
            </a:r>
            <a:br>
              <a:rPr lang="nl-NL" sz="1100" dirty="0"/>
            </a:br>
            <a:r>
              <a:rPr lang="nl-NL" sz="1100" i="1" dirty="0"/>
              <a:t>(</a:t>
            </a:r>
            <a:r>
              <a:rPr lang="nl-NL" sz="1100" i="1" dirty="0" err="1"/>
              <a:t>Introduces</a:t>
            </a:r>
            <a:r>
              <a:rPr lang="nl-NL" sz="1100" i="1" dirty="0"/>
              <a:t> DIAL and </a:t>
            </a:r>
            <a:r>
              <a:rPr lang="nl-NL" sz="1100" i="1" dirty="0" err="1"/>
              <a:t>the</a:t>
            </a:r>
            <a:r>
              <a:rPr lang="nl-NL" sz="1100" i="1" dirty="0"/>
              <a:t> </a:t>
            </a:r>
            <a:r>
              <a:rPr lang="nl-NL" sz="1100" i="1" dirty="0" err="1"/>
              <a:t>Discretize</a:t>
            </a:r>
            <a:r>
              <a:rPr lang="nl-NL" sz="1100" i="1" dirty="0"/>
              <a:t>/</a:t>
            </a:r>
            <a:r>
              <a:rPr lang="nl-NL" sz="1100" i="1" dirty="0" err="1"/>
              <a:t>Regularize</a:t>
            </a:r>
            <a:r>
              <a:rPr lang="nl-NL" sz="1100" i="1" dirty="0"/>
              <a:t> Unit (DRU) </a:t>
            </a:r>
            <a:r>
              <a:rPr lang="nl-NL" sz="1100" i="1" dirty="0" err="1"/>
              <a:t>for</a:t>
            </a:r>
            <a:r>
              <a:rPr lang="nl-NL" sz="1100" i="1" dirty="0"/>
              <a:t> </a:t>
            </a:r>
            <a:r>
              <a:rPr lang="nl-NL" sz="1100" i="1" dirty="0" err="1"/>
              <a:t>learning</a:t>
            </a:r>
            <a:r>
              <a:rPr lang="nl-NL" sz="1100" i="1" dirty="0"/>
              <a:t> </a:t>
            </a:r>
            <a:r>
              <a:rPr lang="nl-NL" sz="1100" i="1" dirty="0" err="1"/>
              <a:t>communication</a:t>
            </a:r>
            <a:r>
              <a:rPr lang="nl-NL" sz="1100" i="1" dirty="0"/>
              <a:t> </a:t>
            </a:r>
            <a:r>
              <a:rPr lang="nl-NL" sz="1100" i="1" dirty="0" err="1"/>
              <a:t>under</a:t>
            </a:r>
            <a:r>
              <a:rPr lang="nl-NL" sz="1100" i="1" dirty="0"/>
              <a:t> </a:t>
            </a:r>
            <a:r>
              <a:rPr lang="nl-NL" sz="1100" i="1" dirty="0" err="1"/>
              <a:t>bandwidth</a:t>
            </a:r>
            <a:r>
              <a:rPr lang="nl-NL" sz="1100" i="1" dirty="0"/>
              <a:t> </a:t>
            </a:r>
            <a:r>
              <a:rPr lang="nl-NL" sz="1100" i="1" dirty="0" err="1"/>
              <a:t>constraints</a:t>
            </a:r>
            <a:r>
              <a:rPr lang="nl-NL" sz="1100" i="1" dirty="0"/>
              <a:t>)</a:t>
            </a:r>
            <a:endParaRPr lang="nl-NL" sz="1100" dirty="0"/>
          </a:p>
          <a:p>
            <a:endParaRPr lang="en-NL" dirty="0"/>
          </a:p>
        </p:txBody>
      </p:sp>
      <p:pic>
        <p:nvPicPr>
          <p:cNvPr id="5" name="Picture 4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F95A0634-A5EF-1631-07E7-1CB6BE5443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724" y="455113"/>
            <a:ext cx="2857500" cy="28575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AAA0AFE-E711-7E86-5AA5-DEE53CED429B}"/>
              </a:ext>
            </a:extLst>
          </p:cNvPr>
          <p:cNvSpPr txBox="1"/>
          <p:nvPr/>
        </p:nvSpPr>
        <p:spPr>
          <a:xfrm>
            <a:off x="325224" y="3145104"/>
            <a:ext cx="4572000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NL" sz="1600" dirty="0"/>
              <a:t>https://github.com/robhendrik/QSeaBat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06C1E8D-7682-4FB1-1EC4-06BBBB73A1A6}"/>
              </a:ext>
            </a:extLst>
          </p:cNvPr>
          <p:cNvSpPr txBox="1">
            <a:spLocks/>
          </p:cNvSpPr>
          <p:nvPr/>
        </p:nvSpPr>
        <p:spPr>
          <a:xfrm>
            <a:off x="454294" y="262919"/>
            <a:ext cx="3955642" cy="3484800"/>
          </a:xfrm>
          <a:prstGeom prst="rect">
            <a:avLst/>
          </a:prstGeom>
        </p:spPr>
        <p:txBody>
          <a:bodyPr vert="horz" lIns="0" tIns="0" rIns="0" bIns="0" numCol="1" spcCol="270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2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05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0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nl-NL" sz="1600" b="1" dirty="0" err="1"/>
              <a:t>Github</a:t>
            </a:r>
            <a:r>
              <a:rPr lang="nl-NL" sz="1600" b="1" dirty="0"/>
              <a:t> </a:t>
            </a:r>
            <a:r>
              <a:rPr lang="nl-NL" sz="1600" b="1" dirty="0" err="1"/>
              <a:t>for</a:t>
            </a:r>
            <a:r>
              <a:rPr lang="nl-NL" sz="1600" b="1" dirty="0"/>
              <a:t> code, slides and background</a:t>
            </a:r>
          </a:p>
        </p:txBody>
      </p:sp>
    </p:spTree>
    <p:extLst>
      <p:ext uri="{BB962C8B-B14F-4D97-AF65-F5344CB8AC3E}">
        <p14:creationId xmlns:p14="http://schemas.microsoft.com/office/powerpoint/2010/main" val="108292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3481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5DFABE-706D-EC4E-D164-D4C9A4AA19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EE21490-2234-12DE-0977-5207C5013648}"/>
              </a:ext>
            </a:extLst>
          </p:cNvPr>
          <p:cNvSpPr txBox="1">
            <a:spLocks/>
          </p:cNvSpPr>
          <p:nvPr/>
        </p:nvSpPr>
        <p:spPr>
          <a:xfrm>
            <a:off x="0" y="3516197"/>
            <a:ext cx="9144000" cy="1627301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spcCol="324000" rtlCol="0">
            <a:noAutofit/>
          </a:bodyPr>
          <a:lstStyle>
            <a:lvl1pPr marL="146304" indent="-146304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1pPr>
            <a:lvl2pPr marL="2952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2pPr>
            <a:lvl3pPr marL="4428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3pPr>
            <a:lvl4pPr marL="5904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US" sz="1400" b="0" i="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 Light" panose="020F0302020204030204" pitchFamily="34" charset="0"/>
              </a:defRPr>
            </a:lvl4pPr>
            <a:lvl5pPr marL="738000" indent="-147600" algn="l" defTabSz="183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5000"/>
              <a:buChar char="•"/>
              <a:defRPr lang="en-IN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856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lang="en-US"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0332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1808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328400" indent="-14760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444096" lvl="3" indent="0">
              <a:buNone/>
            </a:pPr>
            <a:r>
              <a:rPr lang="en-US" b="1" dirty="0"/>
              <a:t>Rules															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Game is played on </a:t>
            </a:r>
            <a:r>
              <a:rPr lang="en-US" i="1" dirty="0" err="1"/>
              <a:t>n</a:t>
            </a:r>
            <a:r>
              <a:rPr lang="en-US" sz="1100" dirty="0" err="1"/>
              <a:t>x</a:t>
            </a:r>
            <a:r>
              <a:rPr lang="en-US" i="1" dirty="0" err="1"/>
              <a:t>n</a:t>
            </a:r>
            <a:r>
              <a:rPr lang="en-US" dirty="0"/>
              <a:t> grid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Each cell has equal probability to contain enemy ship				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Alice knows the position of enemy ships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Bob knows where the gun is pointing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Alice communicates </a:t>
            </a:r>
            <a:r>
              <a:rPr lang="en-US" i="1" dirty="0"/>
              <a:t>m</a:t>
            </a:r>
            <a:r>
              <a:rPr lang="en-US" dirty="0"/>
              <a:t> bits to Bob													</a:t>
            </a:r>
          </a:p>
          <a:p>
            <a:pPr marL="786996" lvl="3" indent="-342900"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Bob decides whether to shoot, or not shoot the gu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NL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95A3EC-6AA8-9A7C-AED5-DD65417921A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7411" r="393" b="10011"/>
          <a:stretch>
            <a:fillRect/>
          </a:stretch>
        </p:blipFill>
        <p:spPr>
          <a:xfrm>
            <a:off x="0" y="1"/>
            <a:ext cx="6749592" cy="3278676"/>
          </a:xfrm>
          <a:prstGeom prst="rect">
            <a:avLst/>
          </a:prstGeom>
        </p:spPr>
      </p:pic>
      <p:pic>
        <p:nvPicPr>
          <p:cNvPr id="9" name="Picture 8" descr="A diagram of a game&#10;&#10;AI-generated content may be incorrect.">
            <a:extLst>
              <a:ext uri="{FF2B5EF4-FFF2-40B4-BE49-F238E27FC236}">
                <a16:creationId xmlns:a16="http://schemas.microsoft.com/office/drawing/2014/main" id="{F33F7055-D4B9-D5F3-C9B7-4508967A230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84005" t="41217" r="703" b="32798"/>
          <a:stretch>
            <a:fillRect/>
          </a:stretch>
        </p:blipFill>
        <p:spPr>
          <a:xfrm>
            <a:off x="7285889" y="643275"/>
            <a:ext cx="1255826" cy="142264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40657A9-E47D-3A9A-0095-831492E31EF4}"/>
              </a:ext>
            </a:extLst>
          </p:cNvPr>
          <p:cNvSpPr/>
          <p:nvPr/>
        </p:nvSpPr>
        <p:spPr>
          <a:xfrm>
            <a:off x="5825765" y="899334"/>
            <a:ext cx="923827" cy="154220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spcCol="324000" rtlCol="0">
            <a:noAutofit/>
          </a:bodyPr>
          <a:lstStyle/>
          <a:p>
            <a:pPr defTabSz="183600">
              <a:spcAft>
                <a:spcPts val="600"/>
              </a:spcAft>
              <a:buClr>
                <a:srgbClr val="000000"/>
              </a:buClr>
              <a:buSzPct val="75000"/>
            </a:pPr>
            <a:endParaRPr lang="en-NL" sz="1400" dirty="0" err="1">
              <a:solidFill>
                <a:schemeClr val="tx1"/>
              </a:solidFill>
              <a:latin typeface="Calibri" panose="020F05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3059A5-A0D8-E7E1-1D2E-E638D342D0F8}"/>
              </a:ext>
            </a:extLst>
          </p:cNvPr>
          <p:cNvSpPr/>
          <p:nvPr/>
        </p:nvSpPr>
        <p:spPr>
          <a:xfrm>
            <a:off x="6618132" y="3732734"/>
            <a:ext cx="2129943" cy="88377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0" tIns="0" rIns="0" bIns="0" spcCol="324000" rtlCol="0">
            <a:noAutofit/>
          </a:bodyPr>
          <a:lstStyle/>
          <a:p>
            <a:pPr defTabSz="183600">
              <a:spcAft>
                <a:spcPts val="600"/>
              </a:spcAft>
              <a:buClr>
                <a:srgbClr val="000000"/>
              </a:buClr>
              <a:buSzPct val="75000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 Light" panose="020F0302020204030204" pitchFamily="34" charset="0"/>
              </a:rPr>
              <a:t>Winning is:</a:t>
            </a:r>
          </a:p>
          <a:p>
            <a:pPr marL="285750" indent="-285750" defTabSz="183600">
              <a:spcAft>
                <a:spcPts val="600"/>
              </a:spcAft>
              <a:buClr>
                <a:srgbClr val="000000"/>
              </a:buClr>
              <a:buSzPct val="75000"/>
              <a:buFontTx/>
              <a:buChar char="-"/>
            </a:pPr>
            <a:r>
              <a:rPr lang="en-US" sz="1400" dirty="0">
                <a:latin typeface="Calibri" panose="020F0502020204030204" pitchFamily="34" charset="0"/>
                <a:cs typeface="Calibri Light" panose="020F0302020204030204" pitchFamily="34" charset="0"/>
              </a:rPr>
              <a:t>Shoot the enemy</a:t>
            </a:r>
          </a:p>
          <a:p>
            <a:pPr marL="285750" indent="-285750" defTabSz="183600">
              <a:spcAft>
                <a:spcPts val="600"/>
              </a:spcAft>
              <a:buClr>
                <a:srgbClr val="000000"/>
              </a:buClr>
              <a:buSzPct val="75000"/>
              <a:buFontTx/>
              <a:buChar char="-"/>
            </a:pPr>
            <a:r>
              <a:rPr lang="en-US" sz="1400" dirty="0">
                <a:latin typeface="Calibri" panose="020F0502020204030204" pitchFamily="34" charset="0"/>
                <a:cs typeface="Calibri Light" panose="020F0302020204030204" pitchFamily="34" charset="0"/>
              </a:rPr>
              <a:t>Not shoot an empty cell</a:t>
            </a:r>
            <a:endParaRPr lang="en-NL" sz="1400" dirty="0" err="1">
              <a:solidFill>
                <a:schemeClr val="tx1"/>
              </a:solidFill>
              <a:latin typeface="Calibri" panose="020F05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F4615D9-6CE4-30AE-EFFF-A4A5F2EEA696}"/>
              </a:ext>
            </a:extLst>
          </p:cNvPr>
          <p:cNvCxnSpPr/>
          <p:nvPr/>
        </p:nvCxnSpPr>
        <p:spPr>
          <a:xfrm>
            <a:off x="678730" y="3391799"/>
            <a:ext cx="75980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619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454005E-04A4-AAE2-68A8-C2F62BA898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0447" y="0"/>
            <a:ext cx="4104409" cy="51435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17DD97-581E-830D-5F9C-D29BFFFF885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D15047-C456-1305-23D8-E5E5CAAB4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787" y="1095378"/>
            <a:ext cx="4636394" cy="1253974"/>
          </a:xfrm>
          <a:solidFill>
            <a:schemeClr val="bg1"/>
          </a:solidFill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Base players</a:t>
            </a:r>
            <a:r>
              <a:rPr lang="en-US" dirty="0"/>
              <a:t>: 				Random guess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Simple players</a:t>
            </a:r>
            <a:r>
              <a:rPr lang="en-US" dirty="0"/>
              <a:t>: 			Communicate the value of first cell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Majority players</a:t>
            </a:r>
            <a:r>
              <a:rPr lang="en-US" dirty="0"/>
              <a:t>: 		Communicate the value that occurs most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/>
              <a:t>AI players</a:t>
            </a:r>
            <a:r>
              <a:rPr lang="en-US" dirty="0"/>
              <a:t>: 					Neural networks learning from scratch</a:t>
            </a:r>
            <a:endParaRPr lang="en-N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8CB9B97-57BA-F213-1238-68375EC6C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3" y="376241"/>
            <a:ext cx="4636394" cy="719137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Classical players</a:t>
            </a:r>
            <a:endParaRPr lang="en-NL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B46EC74-807D-233A-F649-E5646F0A6001}"/>
              </a:ext>
            </a:extLst>
          </p:cNvPr>
          <p:cNvSpPr txBox="1">
            <a:spLocks/>
          </p:cNvSpPr>
          <p:nvPr/>
        </p:nvSpPr>
        <p:spPr>
          <a:xfrm>
            <a:off x="636878" y="4855604"/>
            <a:ext cx="1413762" cy="237464"/>
          </a:xfrm>
          <a:prstGeom prst="rect">
            <a:avLst/>
          </a:prstGeom>
        </p:spPr>
        <p:txBody>
          <a:bodyPr vert="horz" lIns="0" tIns="0" rIns="0" bIns="0" numCol="1" spcCol="270000" rtlCol="0">
            <a:noAutofit/>
          </a:bodyPr>
          <a:lstStyle>
            <a:lvl1pPr marL="144000" indent="-144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5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l-NL" dirty="0"/>
              <a:t>Claude Shannon</a:t>
            </a:r>
          </a:p>
        </p:txBody>
      </p:sp>
      <p:pic>
        <p:nvPicPr>
          <p:cNvPr id="19" name="Picture 4" descr="A Man in a Hurry: Claude Shannon's New York Years - IEEE Spectrum">
            <a:extLst>
              <a:ext uri="{FF2B5EF4-FFF2-40B4-BE49-F238E27FC236}">
                <a16:creationId xmlns:a16="http://schemas.microsoft.com/office/drawing/2014/main" id="{D2CA5A54-F39D-C7F5-EBB7-2D9211D803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096" y="2659255"/>
            <a:ext cx="1668544" cy="219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7310674-8728-731C-7348-9F7C19501FC6}"/>
              </a:ext>
            </a:extLst>
          </p:cNvPr>
          <p:cNvCxnSpPr/>
          <p:nvPr/>
        </p:nvCxnSpPr>
        <p:spPr>
          <a:xfrm flipV="1">
            <a:off x="2300140" y="3638746"/>
            <a:ext cx="3101419" cy="848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20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B72D71-4944-18D7-4729-46860624CA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2920" y="867304"/>
            <a:ext cx="3984240" cy="3484800"/>
          </a:xfrm>
        </p:spPr>
        <p:txBody>
          <a:bodyPr/>
          <a:lstStyle/>
          <a:p>
            <a:r>
              <a:rPr lang="en-US" dirty="0"/>
              <a:t>One source, two measuring parties</a:t>
            </a:r>
          </a:p>
          <a:p>
            <a:r>
              <a:rPr lang="en-US" dirty="0"/>
              <a:t>Each party selects between 2 measurements (T/S)</a:t>
            </a:r>
          </a:p>
          <a:p>
            <a:r>
              <a:rPr lang="en-US" dirty="0"/>
              <a:t>For every measurement they get 1 outcomes from two possibilities(1/0)</a:t>
            </a:r>
          </a:p>
          <a:p>
            <a:pPr marL="0" indent="0">
              <a:buNone/>
            </a:pPr>
            <a:r>
              <a:rPr lang="en-US" b="1" dirty="0">
                <a:sym typeface="Wingdings" panose="05000000000000000000" pitchFamily="2" charset="2"/>
              </a:rPr>
              <a:t> </a:t>
            </a:r>
            <a:r>
              <a:rPr lang="en-US" b="1" dirty="0"/>
              <a:t>16 ‘situations’</a:t>
            </a:r>
          </a:p>
          <a:p>
            <a:endParaRPr lang="en-US" dirty="0"/>
          </a:p>
          <a:p>
            <a:endParaRPr lang="en-N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F727AE9-B3C9-9B9E-0699-2D7E2A467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R 1935 / Alain Aspect 1982</a:t>
            </a:r>
            <a:endParaRPr lang="en-NL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38AFB53-B49C-2E85-34AE-EDCF53AD8D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1845484"/>
              </p:ext>
            </p:extLst>
          </p:nvPr>
        </p:nvGraphicFramePr>
        <p:xfrm>
          <a:off x="1310481" y="2325128"/>
          <a:ext cx="5853605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0721">
                  <a:extLst>
                    <a:ext uri="{9D8B030D-6E8A-4147-A177-3AD203B41FA5}">
                      <a16:colId xmlns:a16="http://schemas.microsoft.com/office/drawing/2014/main" val="235294739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3504664758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3997465964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1775070082"/>
                    </a:ext>
                  </a:extLst>
                </a:gridCol>
                <a:gridCol w="1170721">
                  <a:extLst>
                    <a:ext uri="{9D8B030D-6E8A-4147-A177-3AD203B41FA5}">
                      <a16:colId xmlns:a16="http://schemas.microsoft.com/office/drawing/2014/main" val="1028670046"/>
                    </a:ext>
                  </a:extLst>
                </a:gridCol>
              </a:tblGrid>
              <a:tr h="421734">
                <a:tc>
                  <a:txBody>
                    <a:bodyPr/>
                    <a:lstStyle/>
                    <a:p>
                      <a:r>
                        <a:rPr lang="en-US" sz="1200" dirty="0"/>
                        <a:t>Measurement Alice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asurement Bob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utcome Alice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utcome Bob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rrelation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929409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‘TT’ = -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8976882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‘TT’ = 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92886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S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‘ST’ = -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5415547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/>
                        <a:t>T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‘TS’ = 1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73297"/>
                  </a:ext>
                </a:extLst>
              </a:tr>
              <a:tr h="260664"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tc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2204963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50424D5E-9BA5-E80F-28FA-AF186338A6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6841" y="123444"/>
            <a:ext cx="4367864" cy="14877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27AFE3D-131F-5F43-14F5-5FD6AEE9553C}"/>
                  </a:ext>
                </a:extLst>
              </p:cNvPr>
              <p:cNvSpPr txBox="1"/>
              <p:nvPr/>
            </p:nvSpPr>
            <p:spPr>
              <a:xfrm>
                <a:off x="1298220" y="4420920"/>
                <a:ext cx="5865866" cy="338554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𝐂𝐇𝐒𝐇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𝐜𝐨𝐫𝐫𝐞𝐥𝐚𝐭𝐢𝐨𝐧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|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+ 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 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</m:t>
                      </m:r>
                    </m:oMath>
                  </m:oMathPara>
                </a14:m>
                <a:endParaRPr lang="en-NL" sz="1400" b="1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27AFE3D-131F-5F43-14F5-5FD6AEE955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8220" y="4420920"/>
                <a:ext cx="5865866" cy="338554"/>
              </a:xfrm>
              <a:prstGeom prst="rect">
                <a:avLst/>
              </a:prstGeom>
              <a:blipFill>
                <a:blip r:embed="rId4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701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D0514E-7060-0B99-859A-F4694E7CDEE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8095"/>
            <a:ext cx="9144000" cy="488731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01FD451-9AA4-EA73-8819-3C57A3EF9C09}"/>
              </a:ext>
            </a:extLst>
          </p:cNvPr>
          <p:cNvSpPr/>
          <p:nvPr/>
        </p:nvSpPr>
        <p:spPr>
          <a:xfrm>
            <a:off x="3035431" y="1857080"/>
            <a:ext cx="6014301" cy="3158325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t"/>
          <a:lstStyle/>
          <a:p>
            <a:pPr>
              <a:spcAft>
                <a:spcPts val="600"/>
              </a:spcAft>
            </a:pPr>
            <a:r>
              <a:rPr lang="en-US" sz="1400" b="1" dirty="0">
                <a:solidFill>
                  <a:schemeClr val="bg1"/>
                </a:solidFill>
              </a:rPr>
              <a:t>Box rule: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Box can be opened from the Top (T) or Side (S). This is destructive!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Individually what they find in the </a:t>
            </a:r>
            <a:r>
              <a:rPr lang="en-US" sz="1400">
                <a:solidFill>
                  <a:schemeClr val="bg1"/>
                </a:solidFill>
              </a:rPr>
              <a:t>box is </a:t>
            </a:r>
            <a:r>
              <a:rPr lang="en-US" sz="1400" dirty="0">
                <a:solidFill>
                  <a:schemeClr val="bg1"/>
                </a:solidFill>
              </a:rPr>
              <a:t>random.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Alice and Bob always find the same present, </a:t>
            </a:r>
            <a:r>
              <a:rPr lang="en-US" sz="1400" u="sng" dirty="0">
                <a:solidFill>
                  <a:schemeClr val="bg1"/>
                </a:solidFill>
              </a:rPr>
              <a:t>except</a:t>
            </a:r>
            <a:r>
              <a:rPr lang="en-US" sz="1400" dirty="0">
                <a:solidFill>
                  <a:schemeClr val="bg1"/>
                </a:solidFill>
              </a:rPr>
              <a:t> when they both open from the top: Then they always find a different present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Boxes come with a ‘quality’: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If P = 100% the boxes always obey the rule, otherwise ‘P’ boxes obey and ‘1-P’ boxes deviate from the rule.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With the quality ‘P’ we tune CHSH from 4 (P = 100%) to 0 (P = 50%)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endParaRPr lang="en-NL" sz="1400" dirty="0" err="1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69B21DB9-F20C-708F-05F0-F92326F77FDB}"/>
                  </a:ext>
                </a:extLst>
              </p:cNvPr>
              <p:cNvSpPr txBox="1"/>
              <p:nvPr/>
            </p:nvSpPr>
            <p:spPr>
              <a:xfrm>
                <a:off x="3035430" y="4676851"/>
                <a:ext cx="6014301" cy="338554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𝐂𝐇𝐒𝐇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𝐜𝐨𝐫𝐫𝐞𝐥𝐚𝐭𝐢𝐨𝐧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|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+ 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 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NL" sz="1400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69B21DB9-F20C-708F-05F0-F92326F77F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35430" y="4676851"/>
                <a:ext cx="6014301" cy="338554"/>
              </a:xfrm>
              <a:prstGeom prst="rect">
                <a:avLst/>
              </a:prstGeom>
              <a:blipFill>
                <a:blip r:embed="rId4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>
            <a:extLst>
              <a:ext uri="{FF2B5EF4-FFF2-40B4-BE49-F238E27FC236}">
                <a16:creationId xmlns:a16="http://schemas.microsoft.com/office/drawing/2014/main" id="{2E8B93CC-AF9A-210B-6646-222C3B2EB1BD}"/>
              </a:ext>
            </a:extLst>
          </p:cNvPr>
          <p:cNvSpPr/>
          <p:nvPr/>
        </p:nvSpPr>
        <p:spPr>
          <a:xfrm>
            <a:off x="3035430" y="4336331"/>
            <a:ext cx="6014301" cy="338554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>
              <a:spcAft>
                <a:spcPts val="600"/>
              </a:spcAft>
            </a:pPr>
            <a:r>
              <a:rPr lang="en-US" sz="1400" dirty="0">
                <a:solidFill>
                  <a:schemeClr val="tx1"/>
                </a:solidFill>
              </a:rPr>
              <a:t>The boxes do not contain information, and cannot be used to signal information</a:t>
            </a:r>
            <a:endParaRPr lang="en-NL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38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08C9B0-580D-66C5-41BA-70DA6C110F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85953C-996F-D60F-9E2D-E8882C4ACF8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3D25E8-C9D7-ECD1-E67A-00FC4C9F7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undaries</a:t>
            </a:r>
            <a:endParaRPr lang="en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4392A75-51DC-5984-BA75-CE827AF2DFF4}"/>
                  </a:ext>
                </a:extLst>
              </p:cNvPr>
              <p:cNvSpPr txBox="1"/>
              <p:nvPr/>
            </p:nvSpPr>
            <p:spPr>
              <a:xfrm>
                <a:off x="1407732" y="792654"/>
                <a:ext cx="5865866" cy="338554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𝐂𝐇𝐒𝐇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𝐜𝐨𝐫𝐫𝐞𝐥𝐚𝐭𝐢𝐨𝐧</m:t>
                      </m:r>
                      <m:r>
                        <a:rPr lang="en-US" sz="16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|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𝑺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+ 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𝑺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 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 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𝑻𝑻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  <m:r>
                        <a:rPr lang="en-US" sz="16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</m:t>
                      </m:r>
                      <m:r>
                        <a:rPr lang="nl-NL" sz="1600" b="1" i="1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NL" sz="1400" b="1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4392A75-51DC-5984-BA75-CE827AF2DF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7732" y="792654"/>
                <a:ext cx="5865866" cy="338554"/>
              </a:xfrm>
              <a:prstGeom prst="rect">
                <a:avLst/>
              </a:prstGeom>
              <a:blipFill>
                <a:blip r:embed="rId3"/>
                <a:stretch>
                  <a:fillRect b="-892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F222089-26CF-9CC2-CB6B-B31D1706CCC0}"/>
              </a:ext>
            </a:extLst>
          </p:cNvPr>
          <p:cNvCxnSpPr>
            <a:cxnSpLocks/>
          </p:cNvCxnSpPr>
          <p:nvPr/>
        </p:nvCxnSpPr>
        <p:spPr>
          <a:xfrm>
            <a:off x="955407" y="2385138"/>
            <a:ext cx="7093529" cy="2473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765DD65-49BA-3F61-A1E3-49EFD0BEB7FF}"/>
              </a:ext>
            </a:extLst>
          </p:cNvPr>
          <p:cNvCxnSpPr/>
          <p:nvPr/>
        </p:nvCxnSpPr>
        <p:spPr>
          <a:xfrm>
            <a:off x="955407" y="2283368"/>
            <a:ext cx="0" cy="20739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29DE2F5-A4F1-96BB-4586-BF0CC03B4B62}"/>
              </a:ext>
            </a:extLst>
          </p:cNvPr>
          <p:cNvCxnSpPr/>
          <p:nvPr/>
        </p:nvCxnSpPr>
        <p:spPr>
          <a:xfrm>
            <a:off x="8048936" y="2296156"/>
            <a:ext cx="0" cy="20739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7" name="Picture 4" descr="Box Good Ware Lineal icon">
            <a:extLst>
              <a:ext uri="{FF2B5EF4-FFF2-40B4-BE49-F238E27FC236}">
                <a16:creationId xmlns:a16="http://schemas.microsoft.com/office/drawing/2014/main" id="{384D3290-74F4-4C6E-5538-6895DB4485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74" y="1248618"/>
            <a:ext cx="719137" cy="719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9B513BF-C19F-42D2-5BAF-00224935E85D}"/>
              </a:ext>
            </a:extLst>
          </p:cNvPr>
          <p:cNvSpPr txBox="1"/>
          <p:nvPr/>
        </p:nvSpPr>
        <p:spPr>
          <a:xfrm>
            <a:off x="42552" y="1844826"/>
            <a:ext cx="755633" cy="309958"/>
          </a:xfrm>
          <a:prstGeom prst="rect">
            <a:avLst/>
          </a:prstGeom>
          <a:noFill/>
          <a:ln>
            <a:noFill/>
          </a:ln>
        </p:spPr>
        <p:txBody>
          <a:bodyPr wrap="none" lIns="90000" tIns="46800" rIns="90000" bIns="4680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P = 50%</a:t>
            </a:r>
            <a:endParaRPr lang="en-NL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8FAC299-7D87-46BE-DD13-8E273C559B80}"/>
                  </a:ext>
                </a:extLst>
              </p:cNvPr>
              <p:cNvSpPr txBox="1"/>
              <p:nvPr/>
            </p:nvSpPr>
            <p:spPr>
              <a:xfrm>
                <a:off x="-400357" y="2233174"/>
                <a:ext cx="1655973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𝐂𝐇𝐒𝐇</m:t>
                      </m:r>
                      <m:r>
                        <a:rPr lang="en-US" sz="14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sz="14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𝟎</m:t>
                      </m:r>
                    </m:oMath>
                  </m:oMathPara>
                </a14:m>
                <a:endParaRPr lang="en-NL" b="1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8FAC299-7D87-46BE-DD13-8E273C559B8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400357" y="2233174"/>
                <a:ext cx="1655973" cy="30777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E012C17-306A-2701-D31E-BB07645A036A}"/>
                  </a:ext>
                </a:extLst>
              </p:cNvPr>
              <p:cNvSpPr txBox="1"/>
              <p:nvPr/>
            </p:nvSpPr>
            <p:spPr>
              <a:xfrm>
                <a:off x="7967758" y="2254892"/>
                <a:ext cx="1210207" cy="30995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1" i="0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𝐂𝐇𝐒𝐇</m:t>
                      </m:r>
                      <m:r>
                        <a:rPr lang="en-US" sz="14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sz="1400" b="1" i="1" smtClean="0">
                          <a:solidFill>
                            <a:srgbClr val="26262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𝟒</m:t>
                      </m:r>
                    </m:oMath>
                  </m:oMathPara>
                </a14:m>
                <a:endParaRPr lang="en-NL" b="1" dirty="0"/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E012C17-306A-2701-D31E-BB07645A03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7758" y="2254892"/>
                <a:ext cx="1210207" cy="30995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4" name="Picture 4" descr="Box Good Ware Lineal icon">
            <a:extLst>
              <a:ext uri="{FF2B5EF4-FFF2-40B4-BE49-F238E27FC236}">
                <a16:creationId xmlns:a16="http://schemas.microsoft.com/office/drawing/2014/main" id="{537D3E12-6D57-9126-682A-65294EEC55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3779" y="1277041"/>
            <a:ext cx="719137" cy="719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009477E-7A12-5048-64E0-B55179306870}"/>
              </a:ext>
            </a:extLst>
          </p:cNvPr>
          <p:cNvSpPr txBox="1"/>
          <p:nvPr/>
        </p:nvSpPr>
        <p:spPr>
          <a:xfrm>
            <a:off x="8141057" y="1873249"/>
            <a:ext cx="847005" cy="309958"/>
          </a:xfrm>
          <a:prstGeom prst="rect">
            <a:avLst/>
          </a:prstGeom>
          <a:noFill/>
          <a:ln>
            <a:noFill/>
          </a:ln>
        </p:spPr>
        <p:txBody>
          <a:bodyPr wrap="none" lIns="90000" tIns="46800" rIns="90000" bIns="46800" rtlCol="0">
            <a:spAutoFit/>
          </a:bodyPr>
          <a:lstStyle/>
          <a:p>
            <a:pPr marL="0" indent="0" algn="l">
              <a:spcAft>
                <a:spcPts val="600"/>
              </a:spcAft>
              <a:buSzPct val="75000"/>
              <a:buNone/>
            </a:pPr>
            <a:r>
              <a:rPr lang="en-US" sz="1400" dirty="0"/>
              <a:t>P = 100%</a:t>
            </a:r>
            <a:endParaRPr lang="en-NL" sz="1400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8A70807-693D-CF3B-B6C1-66A3454ACAA3}"/>
              </a:ext>
            </a:extLst>
          </p:cNvPr>
          <p:cNvGrpSpPr/>
          <p:nvPr/>
        </p:nvGrpSpPr>
        <p:grpSpPr>
          <a:xfrm>
            <a:off x="-17494" y="1270739"/>
            <a:ext cx="4790650" cy="3872761"/>
            <a:chOff x="-17494" y="1270739"/>
            <a:chExt cx="4790650" cy="387276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7A0F5EB-D062-B291-9280-01D2B46B5BDB}"/>
                </a:ext>
              </a:extLst>
            </p:cNvPr>
            <p:cNvSpPr/>
            <p:nvPr/>
          </p:nvSpPr>
          <p:spPr>
            <a:xfrm>
              <a:off x="2856322" y="2270580"/>
              <a:ext cx="232966" cy="232966"/>
            </a:xfrm>
            <a:prstGeom prst="ellipse">
              <a:avLst/>
            </a:prstGeom>
            <a:solidFill>
              <a:schemeClr val="tx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endParaRPr lang="en-NL" sz="1400" dirty="0" err="1">
                <a:solidFill>
                  <a:schemeClr val="bg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F436DFEF-94A5-DC4E-8A87-E1E241E90171}"/>
                    </a:ext>
                  </a:extLst>
                </p:cNvPr>
                <p:cNvSpPr txBox="1"/>
                <p:nvPr/>
              </p:nvSpPr>
              <p:spPr>
                <a:xfrm>
                  <a:off x="913756" y="2432689"/>
                  <a:ext cx="1655973" cy="30777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𝐂𝐇𝐒𝐇</m:t>
                        </m:r>
                        <m:r>
                          <a:rPr lang="en-US" sz="14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</m:oMath>
                    </m:oMathPara>
                  </a14:m>
                  <a:endParaRPr lang="en-NL" b="1" dirty="0"/>
                </a:p>
              </p:txBody>
            </p:sp>
          </mc:Choice>
          <mc:Fallback xmlns=""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F436DFEF-94A5-DC4E-8A87-E1E241E9017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13756" y="2432689"/>
                  <a:ext cx="1655973" cy="307777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886B9C5-1FB0-333E-74CF-BE86724DCBEC}"/>
                </a:ext>
              </a:extLst>
            </p:cNvPr>
            <p:cNvSpPr txBox="1"/>
            <p:nvPr/>
          </p:nvSpPr>
          <p:spPr>
            <a:xfrm>
              <a:off x="1317218" y="2120826"/>
              <a:ext cx="802569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i="1" dirty="0"/>
                <a:t>Classical</a:t>
              </a:r>
              <a:endParaRPr lang="en-NL" sz="1400" i="1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93D5E4A-9052-1F2C-E328-DBEECDA715D3}"/>
                </a:ext>
              </a:extLst>
            </p:cNvPr>
            <p:cNvSpPr txBox="1"/>
            <p:nvPr/>
          </p:nvSpPr>
          <p:spPr>
            <a:xfrm>
              <a:off x="3898965" y="2110890"/>
              <a:ext cx="874191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i="1" dirty="0"/>
                <a:t>Quantum</a:t>
              </a:r>
              <a:endParaRPr lang="en-NL" sz="1400" i="1" dirty="0"/>
            </a:p>
          </p:txBody>
        </p:sp>
        <p:sp>
          <p:nvSpPr>
            <p:cNvPr id="14" name="Speech Bubble: Rectangle with Corners Rounded 13">
              <a:extLst>
                <a:ext uri="{FF2B5EF4-FFF2-40B4-BE49-F238E27FC236}">
                  <a16:creationId xmlns:a16="http://schemas.microsoft.com/office/drawing/2014/main" id="{217D84BA-5E70-51FB-7F36-932829120D1B}"/>
                </a:ext>
              </a:extLst>
            </p:cNvPr>
            <p:cNvSpPr/>
            <p:nvPr/>
          </p:nvSpPr>
          <p:spPr>
            <a:xfrm>
              <a:off x="1717931" y="3867696"/>
              <a:ext cx="1655973" cy="973679"/>
            </a:xfrm>
            <a:prstGeom prst="wedgeRoundRectCallout">
              <a:avLst>
                <a:gd name="adj1" fmla="val 24910"/>
                <a:gd name="adj2" fmla="val -186251"/>
                <a:gd name="adj3" fmla="val 16667"/>
              </a:avLst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Bell inequality</a:t>
              </a:r>
              <a:endParaRPr lang="en-NL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EF8BB332-3142-8A37-B56C-7C17F7C569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7494" y="2742670"/>
              <a:ext cx="1655974" cy="2400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4" descr="Box Good Ware Lineal icon">
              <a:extLst>
                <a:ext uri="{FF2B5EF4-FFF2-40B4-BE49-F238E27FC236}">
                  <a16:creationId xmlns:a16="http://schemas.microsoft.com/office/drawing/2014/main" id="{49DE157A-1D02-C3A8-1EE6-CA4050E645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1206" y="1270739"/>
              <a:ext cx="719137" cy="719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2EC5E8D-1785-9259-2B4A-7604D8B214D3}"/>
                </a:ext>
              </a:extLst>
            </p:cNvPr>
            <p:cNvSpPr txBox="1"/>
            <p:nvPr/>
          </p:nvSpPr>
          <p:spPr>
            <a:xfrm>
              <a:off x="2635956" y="1866947"/>
              <a:ext cx="755633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dirty="0"/>
                <a:t>P = 75%</a:t>
              </a:r>
              <a:endParaRPr lang="en-NL" sz="1400" dirty="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1DD5AC6-586E-123C-B486-62111864290E}"/>
              </a:ext>
            </a:extLst>
          </p:cNvPr>
          <p:cNvGrpSpPr/>
          <p:nvPr/>
        </p:nvGrpSpPr>
        <p:grpSpPr>
          <a:xfrm>
            <a:off x="3453355" y="1270739"/>
            <a:ext cx="5702958" cy="3876738"/>
            <a:chOff x="3453355" y="1270739"/>
            <a:chExt cx="5702958" cy="387673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59E68B1-7B83-6789-C3E2-811F172A008E}"/>
                </a:ext>
              </a:extLst>
            </p:cNvPr>
            <p:cNvSpPr/>
            <p:nvPr/>
          </p:nvSpPr>
          <p:spPr>
            <a:xfrm>
              <a:off x="5912177" y="2270580"/>
              <a:ext cx="232966" cy="232966"/>
            </a:xfrm>
            <a:prstGeom prst="ellipse">
              <a:avLst/>
            </a:prstGeom>
            <a:solidFill>
              <a:schemeClr val="tx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endParaRPr lang="en-NL" sz="1400" dirty="0" err="1">
                <a:solidFill>
                  <a:schemeClr val="bg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4E699C54-4EE8-AC7F-CEAB-0AC2F493F0D0}"/>
                    </a:ext>
                  </a:extLst>
                </p:cNvPr>
                <p:cNvSpPr txBox="1"/>
                <p:nvPr/>
              </p:nvSpPr>
              <p:spPr>
                <a:xfrm>
                  <a:off x="3453355" y="2448566"/>
                  <a:ext cx="1655973" cy="33316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lt;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𝐂𝐇𝐒𝐇</m:t>
                        </m:r>
                        <m:r>
                          <a:rPr lang="en-US" sz="14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  <m:rad>
                          <m:radPr>
                            <m:degHide m:val="on"/>
                            <m:ctrlPr>
                              <a:rPr lang="en-US" sz="1400" b="1" i="1" smtClean="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sz="1400" b="1" i="1" smtClean="0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𝟐</m:t>
                            </m:r>
                          </m:e>
                        </m:rad>
                      </m:oMath>
                    </m:oMathPara>
                  </a14:m>
                  <a:endParaRPr lang="en-NL" b="1" dirty="0"/>
                </a:p>
              </p:txBody>
            </p:sp>
          </mc:Choice>
          <mc:Fallback xmlns="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4E699C54-4EE8-AC7F-CEAB-0AC2F493F0D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453355" y="2448566"/>
                  <a:ext cx="1655973" cy="333168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EF6FC67E-43F6-DC7C-5255-B53841D3AFBA}"/>
                    </a:ext>
                  </a:extLst>
                </p:cNvPr>
                <p:cNvSpPr txBox="1"/>
                <p:nvPr/>
              </p:nvSpPr>
              <p:spPr>
                <a:xfrm>
                  <a:off x="6226403" y="2448566"/>
                  <a:ext cx="1655973" cy="33316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  <m:rad>
                          <m:radPr>
                            <m:degHide m:val="on"/>
                            <m:ctrlPr>
                              <a:rPr lang="en-US" sz="1400" b="1" i="1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sz="1400" b="1" i="1">
                                <a:solidFill>
                                  <a:srgbClr val="262626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𝟐</m:t>
                            </m:r>
                          </m:e>
                        </m:rad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lt;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𝐂𝐇𝐒𝐇</m:t>
                        </m:r>
                        <m:r>
                          <a:rPr lang="en-US" sz="1400" b="1" i="1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lang="en-US" sz="1400" b="1" i="0" smtClean="0">
                            <a:solidFill>
                              <a:srgbClr val="262626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𝟒</m:t>
                        </m:r>
                      </m:oMath>
                    </m:oMathPara>
                  </a14:m>
                  <a:endParaRPr lang="en-NL" b="1" dirty="0"/>
                </a:p>
              </p:txBody>
            </p:sp>
          </mc:Choice>
          <mc:Fallback xmlns=""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EF6FC67E-43F6-DC7C-5255-B53841D3AFB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26403" y="2448566"/>
                  <a:ext cx="1655973" cy="333168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NL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60ACBCF-683C-D769-0930-B6ECE1A7B58D}"/>
                </a:ext>
              </a:extLst>
            </p:cNvPr>
            <p:cNvSpPr txBox="1"/>
            <p:nvPr/>
          </p:nvSpPr>
          <p:spPr>
            <a:xfrm>
              <a:off x="6404263" y="2121387"/>
              <a:ext cx="1242113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i="1" dirty="0"/>
                <a:t>Post-Quantum</a:t>
              </a:r>
              <a:endParaRPr lang="en-NL" sz="1400" i="1" dirty="0"/>
            </a:p>
          </p:txBody>
        </p:sp>
        <p:sp>
          <p:nvSpPr>
            <p:cNvPr id="22" name="Speech Bubble: Rectangle with Corners Rounded 21">
              <a:extLst>
                <a:ext uri="{FF2B5EF4-FFF2-40B4-BE49-F238E27FC236}">
                  <a16:creationId xmlns:a16="http://schemas.microsoft.com/office/drawing/2014/main" id="{155F5620-382E-0085-2CBA-33F28D79447E}"/>
                </a:ext>
              </a:extLst>
            </p:cNvPr>
            <p:cNvSpPr/>
            <p:nvPr/>
          </p:nvSpPr>
          <p:spPr>
            <a:xfrm>
              <a:off x="5991044" y="3871056"/>
              <a:ext cx="1655973" cy="973678"/>
            </a:xfrm>
            <a:prstGeom prst="wedgeRoundRectCallout">
              <a:avLst>
                <a:gd name="adj1" fmla="val -47139"/>
                <a:gd name="adj2" fmla="val -186267"/>
                <a:gd name="adj3" fmla="val 16667"/>
              </a:avLst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400" dirty="0" err="1">
                  <a:solidFill>
                    <a:schemeClr val="bg1"/>
                  </a:solidFill>
                </a:rPr>
                <a:t>Tsirelson</a:t>
              </a:r>
              <a:r>
                <a:rPr lang="en-US" sz="1400" dirty="0">
                  <a:solidFill>
                    <a:schemeClr val="bg1"/>
                  </a:solidFill>
                </a:rPr>
                <a:t> bound</a:t>
              </a:r>
              <a:endParaRPr lang="en-NL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25" name="Picture 2">
              <a:extLst>
                <a:ext uri="{FF2B5EF4-FFF2-40B4-BE49-F238E27FC236}">
                  <a16:creationId xmlns:a16="http://schemas.microsoft.com/office/drawing/2014/main" id="{4669AD71-40C2-AB12-3F95-C9FE7FD3D1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6468" y="2781734"/>
              <a:ext cx="1429845" cy="2365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4" descr="Box Good Ware Lineal icon">
              <a:extLst>
                <a:ext uri="{FF2B5EF4-FFF2-40B4-BE49-F238E27FC236}">
                  <a16:creationId xmlns:a16="http://schemas.microsoft.com/office/drawing/2014/main" id="{93449032-5F55-A840-99B0-E06EE05B98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9600" y="1270739"/>
              <a:ext cx="719137" cy="719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0C1CC41-E15E-48F8-8ADD-6969883B0371}"/>
                </a:ext>
              </a:extLst>
            </p:cNvPr>
            <p:cNvSpPr txBox="1"/>
            <p:nvPr/>
          </p:nvSpPr>
          <p:spPr>
            <a:xfrm>
              <a:off x="5666878" y="1866947"/>
              <a:ext cx="755633" cy="3099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0000" tIns="46800" rIns="90000" bIns="46800" rtlCol="0">
              <a:spAutoFit/>
            </a:bodyPr>
            <a:lstStyle/>
            <a:p>
              <a:pPr marL="0" indent="0" algn="l">
                <a:spcAft>
                  <a:spcPts val="600"/>
                </a:spcAft>
                <a:buSzPct val="75000"/>
                <a:buNone/>
              </a:pPr>
              <a:r>
                <a:rPr lang="en-US" sz="1400" dirty="0"/>
                <a:t>P = 85%</a:t>
              </a:r>
              <a:endParaRPr lang="en-NL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6181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31BF-54CF-C948-CCEB-D06FF9461FC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64782B9-A8E8-9B61-FCD2-FD0FDF478F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5695" y="0"/>
            <a:ext cx="5138305" cy="51435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D34946E-3B80-DEA0-B9F8-C4F883D1B481}"/>
              </a:ext>
            </a:extLst>
          </p:cNvPr>
          <p:cNvSpPr/>
          <p:nvPr/>
        </p:nvSpPr>
        <p:spPr>
          <a:xfrm>
            <a:off x="8173039" y="480767"/>
            <a:ext cx="716437" cy="4457276"/>
          </a:xfrm>
          <a:prstGeom prst="rect">
            <a:avLst/>
          </a:prstGeom>
          <a:solidFill>
            <a:srgbClr val="1F77B4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>
              <a:spcAft>
                <a:spcPts val="600"/>
              </a:spcAft>
            </a:pPr>
            <a:endParaRPr lang="en-NL" sz="1400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280B05-B1F3-945B-E1A0-8781AC0169EC}"/>
              </a:ext>
            </a:extLst>
          </p:cNvPr>
          <p:cNvSpPr txBox="1"/>
          <p:nvPr/>
        </p:nvSpPr>
        <p:spPr>
          <a:xfrm>
            <a:off x="382096" y="967464"/>
            <a:ext cx="3360345" cy="15465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nl-NL" dirty="0" err="1">
                <a:sym typeface="Wingdings" panose="05000000000000000000" pitchFamily="2" charset="2"/>
              </a:rPr>
              <a:t>AI’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that</a:t>
            </a:r>
            <a:r>
              <a:rPr lang="nl-NL" dirty="0">
                <a:sym typeface="Wingdings" panose="05000000000000000000" pitchFamily="2" charset="2"/>
              </a:rPr>
              <a:t> combine ‘standard’ </a:t>
            </a:r>
            <a:r>
              <a:rPr lang="nl-NL" dirty="0" err="1">
                <a:sym typeface="Wingdings" panose="05000000000000000000" pitchFamily="2" charset="2"/>
              </a:rPr>
              <a:t>layer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with</a:t>
            </a:r>
            <a:endParaRPr lang="nl-NL" dirty="0">
              <a:sym typeface="Wingdings" panose="05000000000000000000" pitchFamily="2" charset="2"/>
            </a:endParaRPr>
          </a:p>
          <a:p>
            <a:r>
              <a:rPr lang="nl-NL" dirty="0">
                <a:sym typeface="Wingdings" panose="05000000000000000000" pitchFamily="2" charset="2"/>
              </a:rPr>
              <a:t>‘</a:t>
            </a:r>
            <a:r>
              <a:rPr lang="nl-NL" dirty="0" err="1">
                <a:sym typeface="Wingdings" panose="05000000000000000000" pitchFamily="2" charset="2"/>
              </a:rPr>
              <a:t>entangled</a:t>
            </a:r>
            <a:r>
              <a:rPr lang="nl-NL" dirty="0">
                <a:sym typeface="Wingdings" panose="05000000000000000000" pitchFamily="2" charset="2"/>
              </a:rPr>
              <a:t>’ </a:t>
            </a:r>
            <a:r>
              <a:rPr lang="nl-NL" dirty="0" err="1">
                <a:sym typeface="Wingdings" panose="05000000000000000000" pitchFamily="2" charset="2"/>
              </a:rPr>
              <a:t>layers</a:t>
            </a:r>
            <a:r>
              <a:rPr lang="nl-NL" dirty="0">
                <a:sym typeface="Wingdings" panose="05000000000000000000" pitchFamily="2" charset="2"/>
              </a:rPr>
              <a:t> (</a:t>
            </a:r>
            <a:r>
              <a:rPr lang="nl-NL" dirty="0" err="1">
                <a:sym typeface="Wingdings" panose="05000000000000000000" pitchFamily="2" charset="2"/>
              </a:rPr>
              <a:t>consisting</a:t>
            </a:r>
            <a:r>
              <a:rPr lang="nl-NL" dirty="0">
                <a:sym typeface="Wingdings" panose="05000000000000000000" pitchFamily="2" charset="2"/>
              </a:rPr>
              <a:t> of </a:t>
            </a:r>
            <a:r>
              <a:rPr lang="nl-NL" dirty="0" err="1">
                <a:sym typeface="Wingdings" panose="05000000000000000000" pitchFamily="2" charset="2"/>
              </a:rPr>
              <a:t>our</a:t>
            </a:r>
            <a:r>
              <a:rPr lang="nl-NL" dirty="0">
                <a:sym typeface="Wingdings" panose="05000000000000000000" pitchFamily="2" charset="2"/>
              </a:rPr>
              <a:t> ‘</a:t>
            </a:r>
            <a:r>
              <a:rPr lang="nl-NL" dirty="0" err="1">
                <a:sym typeface="Wingdings" panose="05000000000000000000" pitchFamily="2" charset="2"/>
              </a:rPr>
              <a:t>boxes</a:t>
            </a:r>
            <a:r>
              <a:rPr lang="nl-NL" dirty="0">
                <a:sym typeface="Wingdings" panose="05000000000000000000" pitchFamily="2" charset="2"/>
              </a:rPr>
              <a:t>’)</a:t>
            </a:r>
          </a:p>
          <a:p>
            <a:endParaRPr lang="nl-NL" dirty="0">
              <a:sym typeface="Wingdings" panose="05000000000000000000" pitchFamily="2" charset="2"/>
            </a:endParaRPr>
          </a:p>
          <a:p>
            <a:r>
              <a:rPr lang="nl-NL" dirty="0">
                <a:sym typeface="Wingdings" panose="05000000000000000000" pitchFamily="2" charset="2"/>
              </a:rPr>
              <a:t>For </a:t>
            </a:r>
            <a:r>
              <a:rPr lang="nl-NL" dirty="0" err="1">
                <a:sym typeface="Wingdings" panose="05000000000000000000" pitchFamily="2" charset="2"/>
              </a:rPr>
              <a:t>now</a:t>
            </a:r>
            <a:r>
              <a:rPr lang="nl-NL" dirty="0">
                <a:sym typeface="Wingdings" panose="05000000000000000000" pitchFamily="2" charset="2"/>
              </a:rPr>
              <a:t> we take P=100%: </a:t>
            </a:r>
          </a:p>
          <a:p>
            <a:r>
              <a:rPr lang="nl-NL" dirty="0" err="1">
                <a:sym typeface="Wingdings" panose="05000000000000000000" pitchFamily="2" charset="2"/>
              </a:rPr>
              <a:t>Boxe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always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obey</a:t>
            </a:r>
            <a:r>
              <a:rPr lang="nl-NL" dirty="0">
                <a:sym typeface="Wingdings" panose="05000000000000000000" pitchFamily="2" charset="2"/>
              </a:rPr>
              <a:t> ‘</a:t>
            </a:r>
            <a:r>
              <a:rPr lang="nl-NL" dirty="0" err="1">
                <a:sym typeface="Wingdings" panose="05000000000000000000" pitchFamily="2" charset="2"/>
              </a:rPr>
              <a:t>the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rule</a:t>
            </a:r>
            <a:r>
              <a:rPr lang="nl-NL" dirty="0">
                <a:sym typeface="Wingdings" panose="05000000000000000000" pitchFamily="2" charset="2"/>
              </a:rPr>
              <a:t>’.</a:t>
            </a:r>
          </a:p>
          <a:p>
            <a:endParaRPr lang="nl-NL" dirty="0">
              <a:sym typeface="Wingdings" panose="05000000000000000000" pitchFamily="2" charset="2"/>
            </a:endParaRPr>
          </a:p>
          <a:p>
            <a:r>
              <a:rPr lang="nl-NL" dirty="0">
                <a:sym typeface="Wingdings" panose="05000000000000000000" pitchFamily="2" charset="2"/>
              </a:rPr>
              <a:t>Same game </a:t>
            </a:r>
            <a:r>
              <a:rPr lang="nl-NL" dirty="0" err="1">
                <a:sym typeface="Wingdings" panose="05000000000000000000" pitchFamily="2" charset="2"/>
              </a:rPr>
              <a:t>settings</a:t>
            </a:r>
            <a:r>
              <a:rPr lang="nl-NL" dirty="0">
                <a:sym typeface="Wingdings" panose="05000000000000000000" pitchFamily="2" charset="2"/>
              </a:rPr>
              <a:t> as </a:t>
            </a:r>
            <a:r>
              <a:rPr lang="nl-NL" dirty="0" err="1">
                <a:sym typeface="Wingdings" panose="05000000000000000000" pitchFamily="2" charset="2"/>
              </a:rPr>
              <a:t>before</a:t>
            </a:r>
            <a:r>
              <a:rPr lang="nl-NL" dirty="0">
                <a:sym typeface="Wingdings" panose="05000000000000000000" pitchFamily="2" charset="2"/>
              </a:rPr>
              <a:t>.</a:t>
            </a:r>
            <a:endParaRPr lang="nl-NL" dirty="0"/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794D8F1C-1C7A-C65A-6AC5-52206892CF2D}"/>
              </a:ext>
            </a:extLst>
          </p:cNvPr>
          <p:cNvSpPr txBox="1">
            <a:spLocks/>
          </p:cNvSpPr>
          <p:nvPr/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 err="1"/>
              <a:t>Assisted</a:t>
            </a:r>
            <a:r>
              <a:rPr lang="nl-NL" dirty="0"/>
              <a:t> </a:t>
            </a:r>
            <a:r>
              <a:rPr lang="nl-NL" dirty="0" err="1"/>
              <a:t>players</a:t>
            </a:r>
            <a:endParaRPr lang="nl-NL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17B2CE-A1D4-F915-374F-E7143EB00D76}"/>
              </a:ext>
            </a:extLst>
          </p:cNvPr>
          <p:cNvSpPr txBox="1"/>
          <p:nvPr/>
        </p:nvSpPr>
        <p:spPr>
          <a:xfrm>
            <a:off x="382095" y="2873250"/>
            <a:ext cx="3360345" cy="196207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nl-NL" dirty="0"/>
              <a:t>The </a:t>
            </a:r>
            <a:r>
              <a:rPr lang="nl-NL" dirty="0" err="1"/>
              <a:t>AI’s</a:t>
            </a:r>
            <a:r>
              <a:rPr lang="nl-NL" dirty="0"/>
              <a:t> </a:t>
            </a:r>
            <a:r>
              <a:rPr lang="nl-NL" dirty="0" err="1"/>
              <a:t>achieve</a:t>
            </a:r>
            <a:r>
              <a:rPr lang="nl-NL" dirty="0"/>
              <a:t> a </a:t>
            </a:r>
            <a:r>
              <a:rPr lang="nl-NL" dirty="0" err="1"/>
              <a:t>success</a:t>
            </a:r>
            <a:r>
              <a:rPr lang="nl-NL" dirty="0"/>
              <a:t> </a:t>
            </a:r>
            <a:r>
              <a:rPr lang="nl-NL" dirty="0" err="1"/>
              <a:t>rate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correspond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haring</a:t>
            </a:r>
            <a:r>
              <a:rPr lang="nl-NL" dirty="0"/>
              <a:t> 16bits of information!</a:t>
            </a:r>
          </a:p>
          <a:p>
            <a:endParaRPr lang="nl-NL" sz="1400" dirty="0">
              <a:latin typeface="Calibri" panose="020F0502020204030204" pitchFamily="34" charset="0"/>
              <a:cs typeface="Calibri Light" panose="020F0302020204030204" pitchFamily="34" charset="0"/>
            </a:endParaRPr>
          </a:p>
          <a:p>
            <a:r>
              <a:rPr lang="nl-NL" dirty="0" err="1"/>
              <a:t>Remember</a:t>
            </a:r>
            <a:r>
              <a:rPr lang="nl-NL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The </a:t>
            </a:r>
            <a:r>
              <a:rPr lang="nl-NL" dirty="0" err="1"/>
              <a:t>boxes</a:t>
            </a:r>
            <a:r>
              <a:rPr lang="nl-NL" dirty="0"/>
              <a:t> do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contain</a:t>
            </a:r>
            <a:r>
              <a:rPr lang="nl-NL" dirty="0"/>
              <a:t>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The </a:t>
            </a:r>
            <a:r>
              <a:rPr lang="nl-NL" dirty="0" err="1"/>
              <a:t>boxes</a:t>
            </a:r>
            <a:r>
              <a:rPr lang="nl-NL" dirty="0"/>
              <a:t> </a:t>
            </a:r>
            <a:r>
              <a:rPr lang="nl-NL" dirty="0" err="1"/>
              <a:t>canno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hannel</a:t>
            </a:r>
            <a:r>
              <a:rPr lang="nl-NL" dirty="0"/>
              <a:t>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r>
              <a:rPr lang="nl-NL" dirty="0"/>
              <a:t>We break Shannon and </a:t>
            </a:r>
            <a:r>
              <a:rPr lang="nl-NL" dirty="0" err="1"/>
              <a:t>Tsirelson</a:t>
            </a:r>
            <a:r>
              <a:rPr lang="nl-NL" dirty="0"/>
              <a:t> in </a:t>
            </a:r>
            <a:r>
              <a:rPr lang="nl-NL" dirty="0" err="1"/>
              <a:t>one</a:t>
            </a:r>
            <a:r>
              <a:rPr lang="nl-NL" dirty="0"/>
              <a:t> go!</a:t>
            </a:r>
          </a:p>
        </p:txBody>
      </p:sp>
    </p:spTree>
    <p:extLst>
      <p:ext uri="{BB962C8B-B14F-4D97-AF65-F5344CB8AC3E}">
        <p14:creationId xmlns:p14="http://schemas.microsoft.com/office/powerpoint/2010/main" val="34916379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9B9EF4-FC83-BEBE-98D8-7A3938EF21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E746B9F8-3B6F-4EF3-BBCF-86FA44E64B78}"/>
              </a:ext>
            </a:extLst>
          </p:cNvPr>
          <p:cNvSpPr txBox="1">
            <a:spLocks/>
          </p:cNvSpPr>
          <p:nvPr/>
        </p:nvSpPr>
        <p:spPr>
          <a:xfrm rot="16200000">
            <a:off x="-491035" y="1079467"/>
            <a:ext cx="2265427" cy="719137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nl-NL" dirty="0"/>
              <a:t>Large field limit</a:t>
            </a:r>
          </a:p>
        </p:txBody>
      </p:sp>
      <p:pic>
        <p:nvPicPr>
          <p:cNvPr id="8" name="qseabattle_large_field_limit">
            <a:hlinkClick r:id="" action="ppaction://media"/>
            <a:extLst>
              <a:ext uri="{FF2B5EF4-FFF2-40B4-BE49-F238E27FC236}">
                <a16:creationId xmlns:a16="http://schemas.microsoft.com/office/drawing/2014/main" id="{FB92CE6F-A459-2B94-0654-1D98FE48F83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2376487" y="0"/>
            <a:ext cx="676751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8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667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CA1C2-80B1-B824-CA32-F90D2CF8E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Two</a:t>
            </a:r>
            <a:r>
              <a:rPr lang="nl-NL" dirty="0"/>
              <a:t> </a:t>
            </a:r>
            <a:r>
              <a:rPr lang="nl-NL" dirty="0" err="1"/>
              <a:t>starting</a:t>
            </a:r>
            <a:r>
              <a:rPr lang="nl-NL" dirty="0"/>
              <a:t> point </a:t>
            </a:r>
            <a:r>
              <a:rPr lang="nl-NL" dirty="0" err="1"/>
              <a:t>leading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ame</a:t>
            </a:r>
            <a:r>
              <a:rPr lang="nl-NL" dirty="0"/>
              <a:t> </a:t>
            </a:r>
            <a:r>
              <a:rPr lang="nl-NL" dirty="0" err="1"/>
              <a:t>boundary</a:t>
            </a:r>
            <a:r>
              <a:rPr lang="nl-NL" dirty="0"/>
              <a:t> on non-</a:t>
            </a:r>
            <a:r>
              <a:rPr lang="nl-NL" dirty="0" err="1"/>
              <a:t>locality</a:t>
            </a:r>
            <a:br>
              <a:rPr lang="nl-NL" dirty="0"/>
            </a:br>
            <a:r>
              <a:rPr lang="nl-NL" i="1" dirty="0" err="1"/>
              <a:t>What</a:t>
            </a:r>
            <a:r>
              <a:rPr lang="nl-NL" i="1" dirty="0"/>
              <a:t> is </a:t>
            </a:r>
            <a:r>
              <a:rPr lang="nl-NL" i="1" dirty="0" err="1"/>
              <a:t>the</a:t>
            </a:r>
            <a:r>
              <a:rPr lang="nl-NL" i="1" dirty="0"/>
              <a:t> </a:t>
            </a:r>
            <a:r>
              <a:rPr lang="nl-NL" i="1" dirty="0" err="1"/>
              <a:t>connection</a:t>
            </a:r>
            <a:r>
              <a:rPr lang="nl-NL" i="1" dirty="0"/>
              <a:t>?</a:t>
            </a:r>
          </a:p>
        </p:txBody>
      </p:sp>
      <p:pic>
        <p:nvPicPr>
          <p:cNvPr id="8194" name="Picture 2" descr="Download Wall Icon pack Available in SVG, PNG &amp; Icon Fonts">
            <a:extLst>
              <a:ext uri="{FF2B5EF4-FFF2-40B4-BE49-F238E27FC236}">
                <a16:creationId xmlns:a16="http://schemas.microsoft.com/office/drawing/2014/main" id="{70CA63FB-4F59-9751-6B34-29CFDBA955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4513" y="1414021"/>
            <a:ext cx="1814974" cy="181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A46C78A-F380-D35B-BEC9-52CDEBF08E2F}"/>
              </a:ext>
            </a:extLst>
          </p:cNvPr>
          <p:cNvSpPr txBox="1"/>
          <p:nvPr/>
        </p:nvSpPr>
        <p:spPr>
          <a:xfrm>
            <a:off x="5890229" y="1587825"/>
            <a:ext cx="316892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Starting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Shannon’s</a:t>
            </a:r>
            <a:r>
              <a:rPr lang="nl-NL" dirty="0"/>
              <a:t> information </a:t>
            </a:r>
            <a:r>
              <a:rPr lang="nl-NL" dirty="0" err="1"/>
              <a:t>theory</a:t>
            </a:r>
            <a:r>
              <a:rPr lang="nl-NL" dirty="0"/>
              <a:t>: </a:t>
            </a:r>
            <a:r>
              <a:rPr lang="nl-NL" dirty="0" err="1"/>
              <a:t>Entropy</a:t>
            </a:r>
            <a:r>
              <a:rPr lang="nl-NL" dirty="0"/>
              <a:t>, </a:t>
            </a:r>
            <a:r>
              <a:rPr lang="nl-NL" dirty="0" err="1"/>
              <a:t>mutual</a:t>
            </a:r>
            <a:r>
              <a:rPr lang="nl-NL" dirty="0"/>
              <a:t> information, …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E098C99-3B74-94DF-8806-92B7334320B8}"/>
              </a:ext>
            </a:extLst>
          </p:cNvPr>
          <p:cNvSpPr txBox="1"/>
          <p:nvPr/>
        </p:nvSpPr>
        <p:spPr>
          <a:xfrm>
            <a:off x="431564" y="1656754"/>
            <a:ext cx="36999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/>
              <a:t>Starting</a:t>
            </a:r>
            <a:r>
              <a:rPr lang="nl-NL" dirty="0"/>
              <a:t> </a:t>
            </a:r>
            <a:r>
              <a:rPr lang="nl-NL" dirty="0" err="1"/>
              <a:t>from</a:t>
            </a:r>
            <a:r>
              <a:rPr lang="nl-NL" dirty="0"/>
              <a:t> John von </a:t>
            </a:r>
            <a:r>
              <a:rPr lang="nl-NL" dirty="0" err="1"/>
              <a:t>Neumann’s</a:t>
            </a:r>
            <a:r>
              <a:rPr lang="nl-NL" dirty="0"/>
              <a:t> </a:t>
            </a:r>
            <a:r>
              <a:rPr lang="nl-NL" dirty="0" err="1"/>
              <a:t>quantum</a:t>
            </a:r>
            <a:r>
              <a:rPr lang="nl-NL" dirty="0"/>
              <a:t> </a:t>
            </a:r>
            <a:r>
              <a:rPr lang="nl-NL" dirty="0" err="1"/>
              <a:t>mechanics</a:t>
            </a:r>
            <a:r>
              <a:rPr lang="nl-NL" dirty="0"/>
              <a:t>: Hilbert </a:t>
            </a:r>
            <a:r>
              <a:rPr lang="nl-NL" dirty="0" err="1"/>
              <a:t>space</a:t>
            </a:r>
            <a:r>
              <a:rPr lang="nl-NL" dirty="0"/>
              <a:t>, (non-)</a:t>
            </a:r>
            <a:r>
              <a:rPr lang="nl-NL" dirty="0" err="1"/>
              <a:t>commuting</a:t>
            </a:r>
            <a:r>
              <a:rPr lang="nl-NL" dirty="0"/>
              <a:t> operators, ….</a:t>
            </a:r>
          </a:p>
          <a:p>
            <a:endParaRPr lang="nl-NL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A54D7B-F9BA-10E6-B9E4-6F4671AD440A}"/>
              </a:ext>
            </a:extLst>
          </p:cNvPr>
          <p:cNvSpPr txBox="1"/>
          <p:nvPr/>
        </p:nvSpPr>
        <p:spPr>
          <a:xfrm>
            <a:off x="2485720" y="3833305"/>
            <a:ext cx="41725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 dirty="0"/>
              <a:t>Is </a:t>
            </a:r>
            <a:r>
              <a:rPr lang="nl-NL" sz="1600" dirty="0" err="1"/>
              <a:t>there</a:t>
            </a:r>
            <a:r>
              <a:rPr lang="nl-NL" sz="1600" dirty="0"/>
              <a:t> a </a:t>
            </a:r>
            <a:r>
              <a:rPr lang="nl-NL" sz="1600" dirty="0" err="1"/>
              <a:t>deeper</a:t>
            </a:r>
            <a:r>
              <a:rPr lang="nl-NL" sz="1600" dirty="0"/>
              <a:t> </a:t>
            </a:r>
            <a:r>
              <a:rPr lang="nl-NL" sz="1600" dirty="0" err="1"/>
              <a:t>principle</a:t>
            </a:r>
            <a:r>
              <a:rPr lang="nl-NL" sz="1600" dirty="0"/>
              <a:t> </a:t>
            </a:r>
            <a:r>
              <a:rPr lang="nl-NL" sz="1600" dirty="0" err="1"/>
              <a:t>connecting</a:t>
            </a:r>
            <a:r>
              <a:rPr lang="nl-NL" sz="1600" dirty="0"/>
              <a:t> these fields, and </a:t>
            </a:r>
            <a:r>
              <a:rPr lang="nl-NL" sz="1600" dirty="0" err="1"/>
              <a:t>what</a:t>
            </a:r>
            <a:r>
              <a:rPr lang="nl-NL" sz="1600" dirty="0"/>
              <a:t> does </a:t>
            </a:r>
            <a:r>
              <a:rPr lang="nl-NL" sz="1600" dirty="0" err="1"/>
              <a:t>this</a:t>
            </a:r>
            <a:r>
              <a:rPr lang="nl-NL" sz="1600" dirty="0"/>
              <a:t> </a:t>
            </a:r>
            <a:r>
              <a:rPr lang="nl-NL" sz="1600" dirty="0" err="1"/>
              <a:t>teach</a:t>
            </a:r>
            <a:r>
              <a:rPr lang="nl-NL" sz="1600" dirty="0"/>
              <a:t> </a:t>
            </a:r>
            <a:r>
              <a:rPr lang="nl-NL" sz="1600" dirty="0" err="1"/>
              <a:t>us</a:t>
            </a:r>
            <a:r>
              <a:rPr lang="nl-NL" sz="1600" dirty="0"/>
              <a:t> </a:t>
            </a:r>
            <a:r>
              <a:rPr lang="nl-NL" sz="1600" dirty="0" err="1"/>
              <a:t>about</a:t>
            </a:r>
            <a:r>
              <a:rPr lang="nl-NL" sz="1600" dirty="0"/>
              <a:t> </a:t>
            </a:r>
            <a:r>
              <a:rPr lang="nl-NL" sz="1600" dirty="0" err="1"/>
              <a:t>the</a:t>
            </a:r>
            <a:r>
              <a:rPr lang="nl-NL" sz="1600" dirty="0"/>
              <a:t> foundations of </a:t>
            </a:r>
            <a:r>
              <a:rPr lang="nl-NL" sz="1600" dirty="0" err="1"/>
              <a:t>quantum</a:t>
            </a:r>
            <a:r>
              <a:rPr lang="nl-NL" sz="1600" dirty="0"/>
              <a:t> </a:t>
            </a:r>
            <a:r>
              <a:rPr lang="nl-NL" sz="1600" dirty="0" err="1"/>
              <a:t>mechanics</a:t>
            </a:r>
            <a:r>
              <a:rPr lang="nl-NL" sz="1600" dirty="0"/>
              <a:t>? </a:t>
            </a:r>
          </a:p>
        </p:txBody>
      </p:sp>
      <p:pic>
        <p:nvPicPr>
          <p:cNvPr id="5122" name="Picture 2" descr="John von Neumann in de periode dat hij voor het Manhattan project werkte, jaren 40-45">
            <a:extLst>
              <a:ext uri="{FF2B5EF4-FFF2-40B4-BE49-F238E27FC236}">
                <a16:creationId xmlns:a16="http://schemas.microsoft.com/office/drawing/2014/main" id="{6D92DD9F-500C-2B96-19AB-257754091B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19154"/>
            <a:ext cx="1516847" cy="1967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D4AF1869-743A-A33A-5832-5279E5FDCD48}"/>
                  </a:ext>
                </a:extLst>
              </p:cNvPr>
              <p:cNvSpPr txBox="1"/>
              <p:nvPr/>
            </p:nvSpPr>
            <p:spPr>
              <a:xfrm>
                <a:off x="2264041" y="2598572"/>
                <a:ext cx="2072853" cy="5843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0000" tIns="46800" rIns="90000" bIns="46800" rtlCol="0">
                <a:spAutoFit/>
              </a:bodyPr>
              <a:lstStyle/>
              <a:p>
                <a:pPr marL="0" indent="0" algn="l">
                  <a:spcAft>
                    <a:spcPts val="600"/>
                  </a:spcAft>
                  <a:buSzPct val="7500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𝑪𝑯𝑺𝑯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𝟐</m:t>
                      </m:r>
                      <m:rad>
                        <m:radPr>
                          <m:degHide m:val="on"/>
                          <m:ctrlPr>
                            <a:rPr lang="en-US" sz="2400" b="1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sz="2400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</m:rad>
                    </m:oMath>
                  </m:oMathPara>
                </a14:m>
                <a:endParaRPr lang="en-NL" sz="2400" b="1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D4AF1869-743A-A33A-5832-5279E5FDCD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4041" y="2598572"/>
                <a:ext cx="2072853" cy="58432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124" name="Picture 4" descr="A Man in a Hurry: Claude Shannon's New York Years - IEEE Spectrum">
            <a:extLst>
              <a:ext uri="{FF2B5EF4-FFF2-40B4-BE49-F238E27FC236}">
                <a16:creationId xmlns:a16="http://schemas.microsoft.com/office/drawing/2014/main" id="{3FEC5EFD-7D26-9F4C-200D-FEB4D9A677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9724" y="2414301"/>
            <a:ext cx="1574276" cy="2072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D853E6A7-3926-26CE-3AE6-CAC6991D20C2}"/>
                  </a:ext>
                </a:extLst>
              </p:cNvPr>
              <p:cNvSpPr txBox="1"/>
              <p:nvPr/>
            </p:nvSpPr>
            <p:spPr>
              <a:xfrm>
                <a:off x="4878717" y="2571750"/>
                <a:ext cx="2140179" cy="5843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0000" tIns="46800" rIns="90000" bIns="46800" rtlCol="0">
                <a:spAutoFit/>
              </a:bodyPr>
              <a:lstStyle/>
              <a:p>
                <a:pPr marL="0" indent="0" algn="l">
                  <a:spcAft>
                    <a:spcPts val="600"/>
                  </a:spcAft>
                  <a:buSzPct val="7500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𝑪𝑯𝑺𝑯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= </m:t>
                      </m:r>
                      <m:r>
                        <a:rPr lang="en-US" sz="2400" b="1" i="1" smtClean="0">
                          <a:latin typeface="Cambria Math" panose="02040503050406030204" pitchFamily="18" charset="0"/>
                        </a:rPr>
                        <m:t>𝟐</m:t>
                      </m:r>
                      <m:rad>
                        <m:radPr>
                          <m:degHide m:val="on"/>
                          <m:ctrlPr>
                            <a:rPr lang="en-US" sz="2400" b="1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sz="2400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</m:rad>
                    </m:oMath>
                  </m:oMathPara>
                </a14:m>
                <a:endParaRPr lang="en-NL" sz="2400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D853E6A7-3926-26CE-3AE6-CAC6991D20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8717" y="2571750"/>
                <a:ext cx="2140179" cy="58432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N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0569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Master Only: November 2024">
  <a:themeElements>
    <a:clrScheme name="Philips">
      <a:dk1>
        <a:srgbClr val="000000"/>
      </a:dk1>
      <a:lt1>
        <a:srgbClr val="FFFFFF"/>
      </a:lt1>
      <a:dk2>
        <a:srgbClr val="0B5ED7"/>
      </a:dk2>
      <a:lt2>
        <a:srgbClr val="BDF0FF"/>
      </a:lt2>
      <a:accent1>
        <a:srgbClr val="00126E"/>
      </a:accent1>
      <a:accent2>
        <a:srgbClr val="02DA20"/>
      </a:accent2>
      <a:accent3>
        <a:srgbClr val="F85569"/>
      </a:accent3>
      <a:accent4>
        <a:srgbClr val="FFCF50"/>
      </a:accent4>
      <a:accent5>
        <a:srgbClr val="FA8DDC"/>
      </a:accent5>
      <a:accent6>
        <a:srgbClr val="D780FF"/>
      </a:accent6>
      <a:hlink>
        <a:srgbClr val="0B5ED7"/>
      </a:hlink>
      <a:folHlink>
        <a:srgbClr val="0B5ED7"/>
      </a:folHlink>
    </a:clrScheme>
    <a:fontScheme name="Philips (2024)">
      <a:majorFont>
        <a:latin typeface="Calibri Light"/>
        <a:ea typeface="Yu Gothic"/>
        <a:cs typeface=""/>
      </a:majorFont>
      <a:minorFont>
        <a:latin typeface="Calibri"/>
        <a:ea typeface="Yu Gothic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 cmpd="sng" algn="ctr">
          <a:noFill/>
          <a:prstDash val="solid"/>
        </a:ln>
        <a:effectLst/>
      </a:spPr>
      <a:bodyPr lIns="90000" tIns="46800" rIns="90000" bIns="46800" rtlCol="0" anchor="ctr"/>
      <a:lstStyle>
        <a:defPPr algn="ctr">
          <a:spcAft>
            <a:spcPts val="600"/>
          </a:spcAft>
          <a:defRPr sz="14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</a:spPr>
      <a:bodyPr wrap="none" lIns="90000" tIns="46800" rIns="90000" bIns="46800" rtlCol="0">
        <a:spAutoFit/>
      </a:bodyPr>
      <a:lstStyle>
        <a:defPPr marL="0" indent="0" algn="l">
          <a:spcAft>
            <a:spcPts val="600"/>
          </a:spcAft>
          <a:buSzPct val="75000"/>
          <a:buNone/>
          <a:defRPr sz="1400" dirty="0" smtClean="0"/>
        </a:defPPr>
      </a:lstStyle>
    </a:txDef>
  </a:objectDefaults>
  <a:extraClrSchemeLst/>
  <a:custClrLst>
    <a:custClr name="Light Blue">
      <a:srgbClr val="BDF0FF"/>
    </a:custClr>
    <a:custClr name="Light Aqua">
      <a:srgbClr val="9CF6FB"/>
    </a:custClr>
    <a:custClr name="Light Green">
      <a:srgbClr val="ADFFB5"/>
    </a:custClr>
    <a:custClr name="Light Gold">
      <a:srgbClr val="FCFCC2"/>
    </a:custClr>
    <a:custClr name="Light Coral">
      <a:srgbClr val="FFDEDB"/>
    </a:custClr>
    <a:custClr name="Light Pink">
      <a:srgbClr val="FFE5F9"/>
    </a:custClr>
    <a:custClr name="Light Purple">
      <a:srgbClr val="F1DEFC"/>
    </a:custClr>
    <a:custClr name="White">
      <a:srgbClr val="FFFFFF"/>
    </a:custClr>
    <a:custClr name="White">
      <a:srgbClr val="FFFFFF"/>
    </a:custClr>
    <a:custClr name="White">
      <a:srgbClr val="FFFFFF"/>
    </a:custClr>
    <a:custClr name="Philips Blue">
      <a:srgbClr val="0B5ED7"/>
    </a:custClr>
    <a:custClr name="Aqua">
      <a:srgbClr val="02ABB1"/>
    </a:custClr>
    <a:custClr name="Green">
      <a:srgbClr val="02DA21"/>
    </a:custClr>
    <a:custClr name="Gold">
      <a:srgbClr val="FFCF50"/>
    </a:custClr>
    <a:custClr name="Coral">
      <a:srgbClr val="F85569"/>
    </a:custClr>
    <a:custClr name="Pink">
      <a:srgbClr val="FA8DDC"/>
    </a:custClr>
    <a:custClr name="Purple">
      <a:srgbClr val="D780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Blue">
      <a:srgbClr val="00126E"/>
    </a:custClr>
    <a:custClr name="Dark Aqua">
      <a:srgbClr val="00666F"/>
    </a:custClr>
    <a:custClr name="Dark Green">
      <a:srgbClr val="008800"/>
    </a:custClr>
    <a:custClr name="Dark Gold">
      <a:srgbClr val="FCA708"/>
    </a:custClr>
    <a:custClr name="Dark Coral">
      <a:srgbClr val="D43F44"/>
    </a:custClr>
    <a:custClr name="Dark Pink">
      <a:srgbClr val="DB0383"/>
    </a:custClr>
    <a:custClr name="Dark Purple">
      <a:srgbClr val="A80DF2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ACTIVE edits_JULY 15 VisID template" id="{6786F5D1-4757-F140-90A2-1887A2078D1A}" vid="{E537A740-66BA-B049-9B06-A6174F937C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DA48BB3-A2F8-5147-98FB-30E02B1C7AEF}">
  <we:reference id="54c7af0c-5b65-49a9-ab86-f2a8a4690127" version="2.0.0.3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TemplafyTemplateConfiguration><![CDATA[{"elementsMetadata":[],"transformationConfigurations":[],"templateName":"Philips Master Template (updated margins)","templateDescription":"","enableDocumentContentUpdater":false,"version":"2.0"}]]></TemplafyTemplateConfiguration>
</file>

<file path=customXml/item2.xml><?xml version="1.0" encoding="utf-8"?>
<TemplafyFormConfiguration><![CDATA[{"formFields":[],"formDataEntries":[]}]]></TemplafyFormConfiguration>
</file>

<file path=customXml/item3.xml><?xml version="1.0" encoding="utf-8"?>
<TemplafySlideTemplateConfiguration><![CDATA[{"slideVersion":1,"isValidatorEnabled":false,"isLocked":false,"elementsMetadata":[],"slideId":"1267840777025486852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],"slideId":"1267840777025486853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BFBCB3F7-860C-40CC-8532-A042390E68D6}">
  <ds:schemaRefs/>
</ds:datastoreItem>
</file>

<file path=customXml/itemProps2.xml><?xml version="1.0" encoding="utf-8"?>
<ds:datastoreItem xmlns:ds="http://schemas.openxmlformats.org/officeDocument/2006/customXml" ds:itemID="{758FF650-907C-428F-AD7B-6BA9D849A6CB}">
  <ds:schemaRefs/>
</ds:datastoreItem>
</file>

<file path=customXml/itemProps3.xml><?xml version="1.0" encoding="utf-8"?>
<ds:datastoreItem xmlns:ds="http://schemas.openxmlformats.org/officeDocument/2006/customXml" ds:itemID="{B2E38FC4-1533-4A92-B582-8C6E853F1307}">
  <ds:schemaRefs/>
</ds:datastoreItem>
</file>

<file path=customXml/itemProps4.xml><?xml version="1.0" encoding="utf-8"?>
<ds:datastoreItem xmlns:ds="http://schemas.openxmlformats.org/officeDocument/2006/customXml" ds:itemID="{6BF8525C-62B9-4321-91B7-FFEFD4A5025A}">
  <ds:schemaRefs/>
</ds:datastoreItem>
</file>

<file path=customXml/itemProps5.xml><?xml version="1.0" encoding="utf-8"?>
<ds:datastoreItem xmlns:ds="http://schemas.openxmlformats.org/officeDocument/2006/customXml" ds:itemID="{A6B36AB5-24CA-4029-9FB5-25F24ED71B7F}">
  <ds:schemaRefs/>
</ds:datastoreItem>
</file>

<file path=customXml/itemProps6.xml><?xml version="1.0" encoding="utf-8"?>
<ds:datastoreItem xmlns:ds="http://schemas.openxmlformats.org/officeDocument/2006/customXml" ds:itemID="{91AB6EA3-3FA0-48D1-A667-58CAAF3B0157}">
  <ds:schemaRefs/>
</ds:datastoreItem>
</file>

<file path=docMetadata/LabelInfo.xml><?xml version="1.0" encoding="utf-8"?>
<clbl:labelList xmlns:clbl="http://schemas.microsoft.com/office/2020/mipLabelMetadata">
  <clbl:label id="{1a407a2d-7675-4d17-8692-b3ac285306e4}" enabled="0" method="" siteId="{1a407a2d-7675-4d17-8692-b3ac285306e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28</Words>
  <Application>Microsoft Office PowerPoint</Application>
  <PresentationFormat>On-screen Show (16:9)</PresentationFormat>
  <Paragraphs>132</Paragraphs>
  <Slides>11</Slides>
  <Notes>10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Cambria Math</vt:lpstr>
      <vt:lpstr>Wingdings</vt:lpstr>
      <vt:lpstr>Slide Master Only: November 2024</vt:lpstr>
      <vt:lpstr>think-cell Slide</vt:lpstr>
      <vt:lpstr>QSeaBattle How to benefit from (quantum) non-locality in an information game</vt:lpstr>
      <vt:lpstr>PowerPoint Presentation</vt:lpstr>
      <vt:lpstr>Classical players</vt:lpstr>
      <vt:lpstr>EPR 1935 / Alain Aspect 1982</vt:lpstr>
      <vt:lpstr>PowerPoint Presentation</vt:lpstr>
      <vt:lpstr>Boundaries</vt:lpstr>
      <vt:lpstr>PowerPoint Presentation</vt:lpstr>
      <vt:lpstr>PowerPoint Presentation</vt:lpstr>
      <vt:lpstr>Two starting point leading to same boundary on non-locality What is the connection?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ilips Corporate PowerPoint Template</dc:title>
  <dc:subject/>
  <dc:creator>Hendriks, Rob</dc:creator>
  <cp:keywords/>
  <dc:description/>
  <cp:lastModifiedBy>Hendriks, Rob</cp:lastModifiedBy>
  <cp:revision>1</cp:revision>
  <dcterms:created xsi:type="dcterms:W3CDTF">2025-09-06T05:07:06Z</dcterms:created>
  <dcterms:modified xsi:type="dcterms:W3CDTF">2025-12-30T06:42:5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5-09-05T06:54:52</vt:lpwstr>
  </property>
  <property fmtid="{D5CDD505-2E9C-101B-9397-08002B2CF9AE}" pid="3" name="TemplafyTenantId">
    <vt:lpwstr>philips</vt:lpwstr>
  </property>
  <property fmtid="{D5CDD505-2E9C-101B-9397-08002B2CF9AE}" pid="4" name="TemplafyTemplateId">
    <vt:lpwstr>1267840776996651068</vt:lpwstr>
  </property>
  <property fmtid="{D5CDD505-2E9C-101B-9397-08002B2CF9AE}" pid="5" name="TemplafyUserProfileId">
    <vt:lpwstr>637652993277589542</vt:lpwstr>
  </property>
  <property fmtid="{D5CDD505-2E9C-101B-9397-08002B2CF9AE}" pid="6" name="TemplafyFromBlank">
    <vt:bool>true</vt:bool>
  </property>
</Properties>
</file>